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theme/theme4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theme/theme5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theme/theme6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theme/theme7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theme/theme8.xml" ContentType="application/vnd.openxmlformats-officedocument.them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  <p:sldMasterId id="2147483677" r:id="rId2"/>
    <p:sldMasterId id="2147483720" r:id="rId3"/>
    <p:sldMasterId id="2147483764" r:id="rId4"/>
    <p:sldMasterId id="2147483806" r:id="rId5"/>
    <p:sldMasterId id="2147483848" r:id="rId6"/>
    <p:sldMasterId id="2147483890" r:id="rId7"/>
    <p:sldMasterId id="2147483932" r:id="rId8"/>
  </p:sldMasterIdLst>
  <p:notesMasterIdLst>
    <p:notesMasterId r:id="rId22"/>
  </p:notesMasterIdLst>
  <p:sldIdLst>
    <p:sldId id="2088197052" r:id="rId9"/>
    <p:sldId id="2088197041" r:id="rId10"/>
    <p:sldId id="256" r:id="rId11"/>
    <p:sldId id="257" r:id="rId12"/>
    <p:sldId id="675" r:id="rId13"/>
    <p:sldId id="258" r:id="rId14"/>
    <p:sldId id="674" r:id="rId15"/>
    <p:sldId id="676" r:id="rId16"/>
    <p:sldId id="2088197050" r:id="rId17"/>
    <p:sldId id="2088197049" r:id="rId18"/>
    <p:sldId id="2088197051" r:id="rId19"/>
    <p:sldId id="2088197043" r:id="rId20"/>
    <p:sldId id="2088197042" r:id="rId21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86" d="100"/>
          <a:sy n="86" d="100"/>
        </p:scale>
        <p:origin x="1382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3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presProps" Target="presProp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B499F95-F535-486E-93FD-FDA1BBFDD959}" type="doc">
      <dgm:prSet loTypeId="urn:microsoft.com/office/officeart/2005/8/layout/chevron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F8431938-A8D7-4AFA-8A95-239D6663E2D9}">
      <dgm:prSet phldrT="[Text]" custT="1"/>
      <dgm:spPr>
        <a:solidFill>
          <a:srgbClr val="92D050"/>
        </a:solidFill>
      </dgm:spPr>
      <dgm:t>
        <a:bodyPr/>
        <a:lstStyle/>
        <a:p>
          <a:r>
            <a:rPr lang="en-US" sz="1400" b="1" dirty="0">
              <a:solidFill>
                <a:schemeClr val="tx1"/>
              </a:solidFill>
            </a:rPr>
            <a:t>Donation</a:t>
          </a:r>
        </a:p>
      </dgm:t>
    </dgm:pt>
    <dgm:pt modelId="{97B80CAB-03F3-4451-A8FB-7CBA758431AD}" type="parTrans" cxnId="{01820E1E-7329-42E4-8F72-5D4E3B7AA31E}">
      <dgm:prSet/>
      <dgm:spPr/>
      <dgm:t>
        <a:bodyPr/>
        <a:lstStyle/>
        <a:p>
          <a:endParaRPr lang="en-US"/>
        </a:p>
      </dgm:t>
    </dgm:pt>
    <dgm:pt modelId="{0CD483C9-A9BE-45EE-BF02-2ADA59DF1F73}" type="sibTrans" cxnId="{01820E1E-7329-42E4-8F72-5D4E3B7AA31E}">
      <dgm:prSet/>
      <dgm:spPr/>
      <dgm:t>
        <a:bodyPr/>
        <a:lstStyle/>
        <a:p>
          <a:endParaRPr lang="en-US"/>
        </a:p>
      </dgm:t>
    </dgm:pt>
    <dgm:pt modelId="{A83FA2DC-2CB6-49C3-B612-B3921F7401CF}">
      <dgm:prSet phldrT="[Text]"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dirty="0"/>
            <a:t>Members of the general public contributing to a Campaign fund in the form of Ether</a:t>
          </a:r>
        </a:p>
      </dgm:t>
    </dgm:pt>
    <dgm:pt modelId="{DBE423FB-8B35-48A7-AC61-578C32D858E4}" type="parTrans" cxnId="{63242EFD-84B9-46DA-82F8-C0523037C87E}">
      <dgm:prSet/>
      <dgm:spPr/>
      <dgm:t>
        <a:bodyPr/>
        <a:lstStyle/>
        <a:p>
          <a:endParaRPr lang="en-US"/>
        </a:p>
      </dgm:t>
    </dgm:pt>
    <dgm:pt modelId="{32F2E0FD-F579-4030-8BB7-6AC2BA56DF45}" type="sibTrans" cxnId="{63242EFD-84B9-46DA-82F8-C0523037C87E}">
      <dgm:prSet/>
      <dgm:spPr/>
      <dgm:t>
        <a:bodyPr/>
        <a:lstStyle/>
        <a:p>
          <a:endParaRPr lang="en-US"/>
        </a:p>
      </dgm:t>
    </dgm:pt>
    <dgm:pt modelId="{B26F4E86-6510-4112-ACC0-E148890741DE}">
      <dgm:prSet phldrT="[Text]" custT="1"/>
      <dgm:spPr>
        <a:solidFill>
          <a:srgbClr val="92D050"/>
        </a:solidFill>
      </dgm:spPr>
      <dgm:t>
        <a:bodyPr/>
        <a:lstStyle/>
        <a:p>
          <a:r>
            <a:rPr lang="en-US" sz="1400" b="1" dirty="0">
              <a:solidFill>
                <a:schemeClr val="tx1"/>
              </a:solidFill>
            </a:rPr>
            <a:t>Spending Request </a:t>
          </a:r>
          <a:endParaRPr lang="en-US" sz="1400" dirty="0">
            <a:solidFill>
              <a:schemeClr val="tx1"/>
            </a:solidFill>
          </a:endParaRPr>
        </a:p>
      </dgm:t>
    </dgm:pt>
    <dgm:pt modelId="{51F692DD-D4FE-459C-A713-0523FF37CA83}" type="parTrans" cxnId="{99A60958-6353-4C7B-B7A0-70A3A24B2F45}">
      <dgm:prSet/>
      <dgm:spPr/>
      <dgm:t>
        <a:bodyPr/>
        <a:lstStyle/>
        <a:p>
          <a:endParaRPr lang="en-US"/>
        </a:p>
      </dgm:t>
    </dgm:pt>
    <dgm:pt modelId="{1511E86D-BD0C-42DA-B9EA-8DD1A2E23261}" type="sibTrans" cxnId="{99A60958-6353-4C7B-B7A0-70A3A24B2F45}">
      <dgm:prSet/>
      <dgm:spPr/>
      <dgm:t>
        <a:bodyPr/>
        <a:lstStyle/>
        <a:p>
          <a:endParaRPr lang="en-US"/>
        </a:p>
      </dgm:t>
    </dgm:pt>
    <dgm:pt modelId="{104FC633-A11F-4AAD-9693-F91FD986B84D}">
      <dgm:prSet phldrT="[Text]"/>
      <dgm:spPr/>
      <dgm:t>
        <a:bodyPr/>
        <a:lstStyle/>
        <a:p>
          <a:r>
            <a:rPr lang="en-US" dirty="0"/>
            <a:t>Manager creating a Request to disburse certain amount of that Campaign fund to a vendor by specifying the Vendor Ether wallet address, Ether Amount, and purpose of that Expenditure</a:t>
          </a:r>
        </a:p>
      </dgm:t>
    </dgm:pt>
    <dgm:pt modelId="{A727AFE1-A153-41FC-9FFA-DED8790FAA11}" type="parTrans" cxnId="{B8DB4E68-2FF0-415A-B6AA-0334B1838486}">
      <dgm:prSet/>
      <dgm:spPr/>
      <dgm:t>
        <a:bodyPr/>
        <a:lstStyle/>
        <a:p>
          <a:endParaRPr lang="en-US"/>
        </a:p>
      </dgm:t>
    </dgm:pt>
    <dgm:pt modelId="{A28A567A-F2B1-4373-9B5A-92E308670DA1}" type="sibTrans" cxnId="{B8DB4E68-2FF0-415A-B6AA-0334B1838486}">
      <dgm:prSet/>
      <dgm:spPr/>
      <dgm:t>
        <a:bodyPr/>
        <a:lstStyle/>
        <a:p>
          <a:endParaRPr lang="en-US"/>
        </a:p>
      </dgm:t>
    </dgm:pt>
    <dgm:pt modelId="{029370C2-C1E6-4385-A7EF-5F80E4F4777C}">
      <dgm:prSet phldrT="[Text]"/>
      <dgm:spPr>
        <a:solidFill>
          <a:srgbClr val="92D050"/>
        </a:solidFill>
      </dgm:spPr>
      <dgm:t>
        <a:bodyPr/>
        <a:lstStyle/>
        <a:p>
          <a:r>
            <a:rPr lang="en-US" b="1" dirty="0">
              <a:solidFill>
                <a:schemeClr val="tx1"/>
              </a:solidFill>
            </a:rPr>
            <a:t>Approval</a:t>
          </a:r>
          <a:endParaRPr lang="en-US" dirty="0">
            <a:solidFill>
              <a:schemeClr val="tx1"/>
            </a:solidFill>
          </a:endParaRPr>
        </a:p>
      </dgm:t>
    </dgm:pt>
    <dgm:pt modelId="{D7442E1E-8A94-492F-B224-7C773F11C7F1}" type="parTrans" cxnId="{51616A00-6809-4023-BFBC-EA1516684936}">
      <dgm:prSet/>
      <dgm:spPr/>
      <dgm:t>
        <a:bodyPr/>
        <a:lstStyle/>
        <a:p>
          <a:endParaRPr lang="en-US"/>
        </a:p>
      </dgm:t>
    </dgm:pt>
    <dgm:pt modelId="{2E4FADE5-B857-4BEF-9634-E0DC58C54983}" type="sibTrans" cxnId="{51616A00-6809-4023-BFBC-EA1516684936}">
      <dgm:prSet/>
      <dgm:spPr/>
      <dgm:t>
        <a:bodyPr/>
        <a:lstStyle/>
        <a:p>
          <a:endParaRPr lang="en-US"/>
        </a:p>
      </dgm:t>
    </dgm:pt>
    <dgm:pt modelId="{F5996E30-43DE-4CBB-A55C-FB17604962D2}">
      <dgm:prSet phldrT="[Text]"/>
      <dgm:spPr/>
      <dgm:t>
        <a:bodyPr/>
        <a:lstStyle/>
        <a:p>
          <a:r>
            <a:rPr lang="en-US" dirty="0"/>
            <a:t>Approval from more than 50% of the Donors on a particular Spending Request</a:t>
          </a:r>
        </a:p>
      </dgm:t>
    </dgm:pt>
    <dgm:pt modelId="{43567221-A60D-4DD9-829B-3BA75FC8C7E2}" type="parTrans" cxnId="{48BCADAD-6435-489C-9F77-928DC263292C}">
      <dgm:prSet/>
      <dgm:spPr/>
      <dgm:t>
        <a:bodyPr/>
        <a:lstStyle/>
        <a:p>
          <a:endParaRPr lang="en-US"/>
        </a:p>
      </dgm:t>
    </dgm:pt>
    <dgm:pt modelId="{5A725FCC-024A-4C37-81ED-92718F424675}" type="sibTrans" cxnId="{48BCADAD-6435-489C-9F77-928DC263292C}">
      <dgm:prSet/>
      <dgm:spPr/>
      <dgm:t>
        <a:bodyPr/>
        <a:lstStyle/>
        <a:p>
          <a:endParaRPr lang="en-US"/>
        </a:p>
      </dgm:t>
    </dgm:pt>
    <dgm:pt modelId="{1B3A079A-B565-4A4C-90AD-F5B7310EFAFB}">
      <dgm:prSet phldrT="[Text]"/>
      <dgm:spPr>
        <a:solidFill>
          <a:srgbClr val="92D050"/>
        </a:solidFill>
      </dgm:spPr>
      <dgm:t>
        <a:bodyPr/>
        <a:lstStyle/>
        <a:p>
          <a:r>
            <a:rPr lang="en-US" b="1" dirty="0" err="1">
              <a:solidFill>
                <a:schemeClr val="tx1"/>
              </a:solidFill>
            </a:rPr>
            <a:t>Finalisation</a:t>
          </a:r>
          <a:endParaRPr lang="en-US" dirty="0">
            <a:solidFill>
              <a:schemeClr val="tx1"/>
            </a:solidFill>
          </a:endParaRPr>
        </a:p>
      </dgm:t>
    </dgm:pt>
    <dgm:pt modelId="{FD8839DE-864F-46C7-8A98-7B8C5F771B30}" type="parTrans" cxnId="{8D6D4A01-43EA-4889-AFE4-FBC8BF7C152F}">
      <dgm:prSet/>
      <dgm:spPr/>
      <dgm:t>
        <a:bodyPr/>
        <a:lstStyle/>
        <a:p>
          <a:endParaRPr lang="en-US"/>
        </a:p>
      </dgm:t>
    </dgm:pt>
    <dgm:pt modelId="{35D5CF1C-3A18-451B-A6DE-7988CAD797C1}" type="sibTrans" cxnId="{8D6D4A01-43EA-4889-AFE4-FBC8BF7C152F}">
      <dgm:prSet/>
      <dgm:spPr/>
      <dgm:t>
        <a:bodyPr/>
        <a:lstStyle/>
        <a:p>
          <a:endParaRPr lang="en-US"/>
        </a:p>
      </dgm:t>
    </dgm:pt>
    <dgm:pt modelId="{22A97C9B-94CF-4FA4-826D-A5CDA018E4DC}">
      <dgm:prSet phldrT="[Text]"/>
      <dgm:spPr/>
      <dgm:t>
        <a:bodyPr/>
        <a:lstStyle/>
        <a:p>
          <a:r>
            <a:rPr lang="en-US" dirty="0"/>
            <a:t>Manager sending over the payment to the vendor after getting approval</a:t>
          </a:r>
        </a:p>
      </dgm:t>
    </dgm:pt>
    <dgm:pt modelId="{72B353E1-7D89-48DB-A7E8-66870B6C9F0F}" type="parTrans" cxnId="{1CAB57A4-FC5C-438D-B562-030307DB978B}">
      <dgm:prSet/>
      <dgm:spPr/>
      <dgm:t>
        <a:bodyPr/>
        <a:lstStyle/>
        <a:p>
          <a:endParaRPr lang="en-US"/>
        </a:p>
      </dgm:t>
    </dgm:pt>
    <dgm:pt modelId="{10F79904-923F-4B84-80B3-3E3FB87DBF36}" type="sibTrans" cxnId="{1CAB57A4-FC5C-438D-B562-030307DB978B}">
      <dgm:prSet/>
      <dgm:spPr/>
      <dgm:t>
        <a:bodyPr/>
        <a:lstStyle/>
        <a:p>
          <a:endParaRPr lang="en-US"/>
        </a:p>
      </dgm:t>
    </dgm:pt>
    <dgm:pt modelId="{80FB67A1-C746-46D8-8DCE-450BDEFA5A0F}" type="pres">
      <dgm:prSet presAssocID="{7B499F95-F535-486E-93FD-FDA1BBFDD959}" presName="linearFlow" presStyleCnt="0">
        <dgm:presLayoutVars>
          <dgm:dir/>
          <dgm:animLvl val="lvl"/>
          <dgm:resizeHandles val="exact"/>
        </dgm:presLayoutVars>
      </dgm:prSet>
      <dgm:spPr/>
    </dgm:pt>
    <dgm:pt modelId="{70CB8AEA-F36B-42AC-87BE-35882E4F198C}" type="pres">
      <dgm:prSet presAssocID="{F8431938-A8D7-4AFA-8A95-239D6663E2D9}" presName="composite" presStyleCnt="0"/>
      <dgm:spPr/>
    </dgm:pt>
    <dgm:pt modelId="{E238DA67-F9CA-42FD-B005-3994DCD2C71E}" type="pres">
      <dgm:prSet presAssocID="{F8431938-A8D7-4AFA-8A95-239D6663E2D9}" presName="parentText" presStyleLbl="alignNode1" presStyleIdx="0" presStyleCnt="4">
        <dgm:presLayoutVars>
          <dgm:chMax val="1"/>
          <dgm:bulletEnabled val="1"/>
        </dgm:presLayoutVars>
      </dgm:prSet>
      <dgm:spPr/>
    </dgm:pt>
    <dgm:pt modelId="{59C0040B-1391-46A7-A753-08BC63279767}" type="pres">
      <dgm:prSet presAssocID="{F8431938-A8D7-4AFA-8A95-239D6663E2D9}" presName="descendantText" presStyleLbl="alignAcc1" presStyleIdx="0" presStyleCnt="4">
        <dgm:presLayoutVars>
          <dgm:bulletEnabled val="1"/>
        </dgm:presLayoutVars>
      </dgm:prSet>
      <dgm:spPr/>
    </dgm:pt>
    <dgm:pt modelId="{50267192-7DC9-4EEE-A246-6C69C6057ED0}" type="pres">
      <dgm:prSet presAssocID="{0CD483C9-A9BE-45EE-BF02-2ADA59DF1F73}" presName="sp" presStyleCnt="0"/>
      <dgm:spPr/>
    </dgm:pt>
    <dgm:pt modelId="{F18F2DE0-825F-415C-A88F-2B2B19BC8A9F}" type="pres">
      <dgm:prSet presAssocID="{B26F4E86-6510-4112-ACC0-E148890741DE}" presName="composite" presStyleCnt="0"/>
      <dgm:spPr/>
    </dgm:pt>
    <dgm:pt modelId="{AF7A17A2-56E5-4985-B7AD-0785C93F27D4}" type="pres">
      <dgm:prSet presAssocID="{B26F4E86-6510-4112-ACC0-E148890741DE}" presName="parentText" presStyleLbl="alignNode1" presStyleIdx="1" presStyleCnt="4">
        <dgm:presLayoutVars>
          <dgm:chMax val="1"/>
          <dgm:bulletEnabled val="1"/>
        </dgm:presLayoutVars>
      </dgm:prSet>
      <dgm:spPr/>
    </dgm:pt>
    <dgm:pt modelId="{80C308CD-E614-4B2A-8845-8B0BFE0D710F}" type="pres">
      <dgm:prSet presAssocID="{B26F4E86-6510-4112-ACC0-E148890741DE}" presName="descendantText" presStyleLbl="alignAcc1" presStyleIdx="1" presStyleCnt="4">
        <dgm:presLayoutVars>
          <dgm:bulletEnabled val="1"/>
        </dgm:presLayoutVars>
      </dgm:prSet>
      <dgm:spPr/>
    </dgm:pt>
    <dgm:pt modelId="{65B4ED8A-F6F2-4921-83D7-DFB1D7019DCB}" type="pres">
      <dgm:prSet presAssocID="{1511E86D-BD0C-42DA-B9EA-8DD1A2E23261}" presName="sp" presStyleCnt="0"/>
      <dgm:spPr/>
    </dgm:pt>
    <dgm:pt modelId="{C93F58F8-B225-4B0A-B391-EC7DAC60BEAB}" type="pres">
      <dgm:prSet presAssocID="{029370C2-C1E6-4385-A7EF-5F80E4F4777C}" presName="composite" presStyleCnt="0"/>
      <dgm:spPr/>
    </dgm:pt>
    <dgm:pt modelId="{7ACC8E58-44B2-439B-B46D-33A69B1BE71F}" type="pres">
      <dgm:prSet presAssocID="{029370C2-C1E6-4385-A7EF-5F80E4F4777C}" presName="parentText" presStyleLbl="alignNode1" presStyleIdx="2" presStyleCnt="4" custLinFactNeighborX="-21585" custLinFactNeighborY="731">
        <dgm:presLayoutVars>
          <dgm:chMax val="1"/>
          <dgm:bulletEnabled val="1"/>
        </dgm:presLayoutVars>
      </dgm:prSet>
      <dgm:spPr/>
    </dgm:pt>
    <dgm:pt modelId="{3A6DC5D9-8E9A-4B04-9AC6-9A4F1CF085C1}" type="pres">
      <dgm:prSet presAssocID="{029370C2-C1E6-4385-A7EF-5F80E4F4777C}" presName="descendantText" presStyleLbl="alignAcc1" presStyleIdx="2" presStyleCnt="4">
        <dgm:presLayoutVars>
          <dgm:bulletEnabled val="1"/>
        </dgm:presLayoutVars>
      </dgm:prSet>
      <dgm:spPr/>
    </dgm:pt>
    <dgm:pt modelId="{857585BF-28C9-4DA1-8DEB-13C8EED052A5}" type="pres">
      <dgm:prSet presAssocID="{2E4FADE5-B857-4BEF-9634-E0DC58C54983}" presName="sp" presStyleCnt="0"/>
      <dgm:spPr/>
    </dgm:pt>
    <dgm:pt modelId="{F0DB4E0F-F846-4926-A925-852F6C35BB16}" type="pres">
      <dgm:prSet presAssocID="{1B3A079A-B565-4A4C-90AD-F5B7310EFAFB}" presName="composite" presStyleCnt="0"/>
      <dgm:spPr/>
    </dgm:pt>
    <dgm:pt modelId="{D1EDB8C1-67C8-4727-89FC-25F03B74EC87}" type="pres">
      <dgm:prSet presAssocID="{1B3A079A-B565-4A4C-90AD-F5B7310EFAFB}" presName="parentText" presStyleLbl="alignNode1" presStyleIdx="3" presStyleCnt="4">
        <dgm:presLayoutVars>
          <dgm:chMax val="1"/>
          <dgm:bulletEnabled val="1"/>
        </dgm:presLayoutVars>
      </dgm:prSet>
      <dgm:spPr/>
    </dgm:pt>
    <dgm:pt modelId="{08E108D1-0339-4BCC-A70B-884686A12382}" type="pres">
      <dgm:prSet presAssocID="{1B3A079A-B565-4A4C-90AD-F5B7310EFAFB}" presName="descendantText" presStyleLbl="alignAcc1" presStyleIdx="3" presStyleCnt="4">
        <dgm:presLayoutVars>
          <dgm:bulletEnabled val="1"/>
        </dgm:presLayoutVars>
      </dgm:prSet>
      <dgm:spPr/>
    </dgm:pt>
  </dgm:ptLst>
  <dgm:cxnLst>
    <dgm:cxn modelId="{51616A00-6809-4023-BFBC-EA1516684936}" srcId="{7B499F95-F535-486E-93FD-FDA1BBFDD959}" destId="{029370C2-C1E6-4385-A7EF-5F80E4F4777C}" srcOrd="2" destOrd="0" parTransId="{D7442E1E-8A94-492F-B224-7C773F11C7F1}" sibTransId="{2E4FADE5-B857-4BEF-9634-E0DC58C54983}"/>
    <dgm:cxn modelId="{8D6D4A01-43EA-4889-AFE4-FBC8BF7C152F}" srcId="{7B499F95-F535-486E-93FD-FDA1BBFDD959}" destId="{1B3A079A-B565-4A4C-90AD-F5B7310EFAFB}" srcOrd="3" destOrd="0" parTransId="{FD8839DE-864F-46C7-8A98-7B8C5F771B30}" sibTransId="{35D5CF1C-3A18-451B-A6DE-7988CAD797C1}"/>
    <dgm:cxn modelId="{01820E1E-7329-42E4-8F72-5D4E3B7AA31E}" srcId="{7B499F95-F535-486E-93FD-FDA1BBFDD959}" destId="{F8431938-A8D7-4AFA-8A95-239D6663E2D9}" srcOrd="0" destOrd="0" parTransId="{97B80CAB-03F3-4451-A8FB-7CBA758431AD}" sibTransId="{0CD483C9-A9BE-45EE-BF02-2ADA59DF1F73}"/>
    <dgm:cxn modelId="{90890C2A-3E53-4A7D-88D0-332F55C3F7E3}" type="presOf" srcId="{1B3A079A-B565-4A4C-90AD-F5B7310EFAFB}" destId="{D1EDB8C1-67C8-4727-89FC-25F03B74EC87}" srcOrd="0" destOrd="0" presId="urn:microsoft.com/office/officeart/2005/8/layout/chevron2"/>
    <dgm:cxn modelId="{97EC6F37-A595-4C48-8629-84DA9DDD6C8E}" type="presOf" srcId="{104FC633-A11F-4AAD-9693-F91FD986B84D}" destId="{80C308CD-E614-4B2A-8845-8B0BFE0D710F}" srcOrd="0" destOrd="0" presId="urn:microsoft.com/office/officeart/2005/8/layout/chevron2"/>
    <dgm:cxn modelId="{B8DB4E68-2FF0-415A-B6AA-0334B1838486}" srcId="{B26F4E86-6510-4112-ACC0-E148890741DE}" destId="{104FC633-A11F-4AAD-9693-F91FD986B84D}" srcOrd="0" destOrd="0" parTransId="{A727AFE1-A153-41FC-9FFA-DED8790FAA11}" sibTransId="{A28A567A-F2B1-4373-9B5A-92E308670DA1}"/>
    <dgm:cxn modelId="{B3F8B068-A5DD-4F06-93AD-69781CB58D70}" type="presOf" srcId="{029370C2-C1E6-4385-A7EF-5F80E4F4777C}" destId="{7ACC8E58-44B2-439B-B46D-33A69B1BE71F}" srcOrd="0" destOrd="0" presId="urn:microsoft.com/office/officeart/2005/8/layout/chevron2"/>
    <dgm:cxn modelId="{99A60958-6353-4C7B-B7A0-70A3A24B2F45}" srcId="{7B499F95-F535-486E-93FD-FDA1BBFDD959}" destId="{B26F4E86-6510-4112-ACC0-E148890741DE}" srcOrd="1" destOrd="0" parTransId="{51F692DD-D4FE-459C-A713-0523FF37CA83}" sibTransId="{1511E86D-BD0C-42DA-B9EA-8DD1A2E23261}"/>
    <dgm:cxn modelId="{4F1EC07D-7141-4F77-A39B-005954225BB0}" type="presOf" srcId="{7B499F95-F535-486E-93FD-FDA1BBFDD959}" destId="{80FB67A1-C746-46D8-8DCE-450BDEFA5A0F}" srcOrd="0" destOrd="0" presId="urn:microsoft.com/office/officeart/2005/8/layout/chevron2"/>
    <dgm:cxn modelId="{761B9C8A-590F-4953-87D7-E60DA8E61943}" type="presOf" srcId="{22A97C9B-94CF-4FA4-826D-A5CDA018E4DC}" destId="{08E108D1-0339-4BCC-A70B-884686A12382}" srcOrd="0" destOrd="0" presId="urn:microsoft.com/office/officeart/2005/8/layout/chevron2"/>
    <dgm:cxn modelId="{1CAB57A4-FC5C-438D-B562-030307DB978B}" srcId="{1B3A079A-B565-4A4C-90AD-F5B7310EFAFB}" destId="{22A97C9B-94CF-4FA4-826D-A5CDA018E4DC}" srcOrd="0" destOrd="0" parTransId="{72B353E1-7D89-48DB-A7E8-66870B6C9F0F}" sibTransId="{10F79904-923F-4B84-80B3-3E3FB87DBF36}"/>
    <dgm:cxn modelId="{48BCADAD-6435-489C-9F77-928DC263292C}" srcId="{029370C2-C1E6-4385-A7EF-5F80E4F4777C}" destId="{F5996E30-43DE-4CBB-A55C-FB17604962D2}" srcOrd="0" destOrd="0" parTransId="{43567221-A60D-4DD9-829B-3BA75FC8C7E2}" sibTransId="{5A725FCC-024A-4C37-81ED-92718F424675}"/>
    <dgm:cxn modelId="{588F6CB8-9707-490A-9344-CD008CC57226}" type="presOf" srcId="{A83FA2DC-2CB6-49C3-B612-B3921F7401CF}" destId="{59C0040B-1391-46A7-A753-08BC63279767}" srcOrd="0" destOrd="0" presId="urn:microsoft.com/office/officeart/2005/8/layout/chevron2"/>
    <dgm:cxn modelId="{A977EBED-66FF-4C98-8C9D-56376FA339E3}" type="presOf" srcId="{F8431938-A8D7-4AFA-8A95-239D6663E2D9}" destId="{E238DA67-F9CA-42FD-B005-3994DCD2C71E}" srcOrd="0" destOrd="0" presId="urn:microsoft.com/office/officeart/2005/8/layout/chevron2"/>
    <dgm:cxn modelId="{ACA39BF4-756D-46D9-A533-3A03E8CEDC8A}" type="presOf" srcId="{B26F4E86-6510-4112-ACC0-E148890741DE}" destId="{AF7A17A2-56E5-4985-B7AD-0785C93F27D4}" srcOrd="0" destOrd="0" presId="urn:microsoft.com/office/officeart/2005/8/layout/chevron2"/>
    <dgm:cxn modelId="{63242EFD-84B9-46DA-82F8-C0523037C87E}" srcId="{F8431938-A8D7-4AFA-8A95-239D6663E2D9}" destId="{A83FA2DC-2CB6-49C3-B612-B3921F7401CF}" srcOrd="0" destOrd="0" parTransId="{DBE423FB-8B35-48A7-AC61-578C32D858E4}" sibTransId="{32F2E0FD-F579-4030-8BB7-6AC2BA56DF45}"/>
    <dgm:cxn modelId="{EE00D8FF-2CB7-4AD8-AB03-2902D57AD5AC}" type="presOf" srcId="{F5996E30-43DE-4CBB-A55C-FB17604962D2}" destId="{3A6DC5D9-8E9A-4B04-9AC6-9A4F1CF085C1}" srcOrd="0" destOrd="0" presId="urn:microsoft.com/office/officeart/2005/8/layout/chevron2"/>
    <dgm:cxn modelId="{84EDC081-7533-40EF-9F9F-0F83F9D99D00}" type="presParOf" srcId="{80FB67A1-C746-46D8-8DCE-450BDEFA5A0F}" destId="{70CB8AEA-F36B-42AC-87BE-35882E4F198C}" srcOrd="0" destOrd="0" presId="urn:microsoft.com/office/officeart/2005/8/layout/chevron2"/>
    <dgm:cxn modelId="{0F78C1CC-BE1D-4EE0-A965-AE4E774A2E8E}" type="presParOf" srcId="{70CB8AEA-F36B-42AC-87BE-35882E4F198C}" destId="{E238DA67-F9CA-42FD-B005-3994DCD2C71E}" srcOrd="0" destOrd="0" presId="urn:microsoft.com/office/officeart/2005/8/layout/chevron2"/>
    <dgm:cxn modelId="{FCDA0ACB-A8B2-4515-BE78-A3F9DA42A762}" type="presParOf" srcId="{70CB8AEA-F36B-42AC-87BE-35882E4F198C}" destId="{59C0040B-1391-46A7-A753-08BC63279767}" srcOrd="1" destOrd="0" presId="urn:microsoft.com/office/officeart/2005/8/layout/chevron2"/>
    <dgm:cxn modelId="{2573FFC0-C4C7-4AEC-9A2B-FA7CC0D56E90}" type="presParOf" srcId="{80FB67A1-C746-46D8-8DCE-450BDEFA5A0F}" destId="{50267192-7DC9-4EEE-A246-6C69C6057ED0}" srcOrd="1" destOrd="0" presId="urn:microsoft.com/office/officeart/2005/8/layout/chevron2"/>
    <dgm:cxn modelId="{DFA78179-6B09-471D-BF00-4DE8B303F6FE}" type="presParOf" srcId="{80FB67A1-C746-46D8-8DCE-450BDEFA5A0F}" destId="{F18F2DE0-825F-415C-A88F-2B2B19BC8A9F}" srcOrd="2" destOrd="0" presId="urn:microsoft.com/office/officeart/2005/8/layout/chevron2"/>
    <dgm:cxn modelId="{46D39A5E-B8AC-4990-8CFC-4A731BA82FA4}" type="presParOf" srcId="{F18F2DE0-825F-415C-A88F-2B2B19BC8A9F}" destId="{AF7A17A2-56E5-4985-B7AD-0785C93F27D4}" srcOrd="0" destOrd="0" presId="urn:microsoft.com/office/officeart/2005/8/layout/chevron2"/>
    <dgm:cxn modelId="{88FC5FCC-7E9E-4894-9721-7D3F50684DFA}" type="presParOf" srcId="{F18F2DE0-825F-415C-A88F-2B2B19BC8A9F}" destId="{80C308CD-E614-4B2A-8845-8B0BFE0D710F}" srcOrd="1" destOrd="0" presId="urn:microsoft.com/office/officeart/2005/8/layout/chevron2"/>
    <dgm:cxn modelId="{F751890D-1DF7-4552-AA29-EE1580338697}" type="presParOf" srcId="{80FB67A1-C746-46D8-8DCE-450BDEFA5A0F}" destId="{65B4ED8A-F6F2-4921-83D7-DFB1D7019DCB}" srcOrd="3" destOrd="0" presId="urn:microsoft.com/office/officeart/2005/8/layout/chevron2"/>
    <dgm:cxn modelId="{1D81C961-4F26-445A-B685-E34E4D912622}" type="presParOf" srcId="{80FB67A1-C746-46D8-8DCE-450BDEFA5A0F}" destId="{C93F58F8-B225-4B0A-B391-EC7DAC60BEAB}" srcOrd="4" destOrd="0" presId="urn:microsoft.com/office/officeart/2005/8/layout/chevron2"/>
    <dgm:cxn modelId="{966791DE-5EE7-4B81-A09E-0AA038EE7121}" type="presParOf" srcId="{C93F58F8-B225-4B0A-B391-EC7DAC60BEAB}" destId="{7ACC8E58-44B2-439B-B46D-33A69B1BE71F}" srcOrd="0" destOrd="0" presId="urn:microsoft.com/office/officeart/2005/8/layout/chevron2"/>
    <dgm:cxn modelId="{01CDB7EC-91ED-4FF6-A3FD-6CDA732668B2}" type="presParOf" srcId="{C93F58F8-B225-4B0A-B391-EC7DAC60BEAB}" destId="{3A6DC5D9-8E9A-4B04-9AC6-9A4F1CF085C1}" srcOrd="1" destOrd="0" presId="urn:microsoft.com/office/officeart/2005/8/layout/chevron2"/>
    <dgm:cxn modelId="{824FD134-B7EE-404B-93C3-7B65D9D857A9}" type="presParOf" srcId="{80FB67A1-C746-46D8-8DCE-450BDEFA5A0F}" destId="{857585BF-28C9-4DA1-8DEB-13C8EED052A5}" srcOrd="5" destOrd="0" presId="urn:microsoft.com/office/officeart/2005/8/layout/chevron2"/>
    <dgm:cxn modelId="{343AAA13-8D6B-420B-A2F7-5B726DE5D291}" type="presParOf" srcId="{80FB67A1-C746-46D8-8DCE-450BDEFA5A0F}" destId="{F0DB4E0F-F846-4926-A925-852F6C35BB16}" srcOrd="6" destOrd="0" presId="urn:microsoft.com/office/officeart/2005/8/layout/chevron2"/>
    <dgm:cxn modelId="{641994C1-0D65-44F6-828A-2986356686DA}" type="presParOf" srcId="{F0DB4E0F-F846-4926-A925-852F6C35BB16}" destId="{D1EDB8C1-67C8-4727-89FC-25F03B74EC87}" srcOrd="0" destOrd="0" presId="urn:microsoft.com/office/officeart/2005/8/layout/chevron2"/>
    <dgm:cxn modelId="{40FC4B18-EB55-4B23-8F5D-AFA8BA3CBA83}" type="presParOf" srcId="{F0DB4E0F-F846-4926-A925-852F6C35BB16}" destId="{08E108D1-0339-4BCC-A70B-884686A12382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B1D38B75-C8DC-4344-9340-F0E9057DC19A}" type="doc">
      <dgm:prSet loTypeId="urn:microsoft.com/office/officeart/2005/8/layout/radial6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18F1AE97-1D62-4A04-8941-1F13E8CBA743}">
      <dgm:prSet phldrT="[Text]"/>
      <dgm:spPr>
        <a:solidFill>
          <a:srgbClr val="92D050"/>
        </a:solidFill>
      </dgm:spPr>
      <dgm:t>
        <a:bodyPr/>
        <a:lstStyle/>
        <a:p>
          <a:r>
            <a:rPr lang="en-US" dirty="0">
              <a:solidFill>
                <a:schemeClr val="tx1"/>
              </a:solidFill>
            </a:rPr>
            <a:t>Ethereum Blockchain Solution</a:t>
          </a:r>
        </a:p>
      </dgm:t>
    </dgm:pt>
    <dgm:pt modelId="{FA15EF9E-7C0A-43AD-A1ED-97DF9EC01BBF}" type="parTrans" cxnId="{12D888DF-891D-413B-9BD8-32570D1C378F}">
      <dgm:prSet/>
      <dgm:spPr/>
      <dgm:t>
        <a:bodyPr/>
        <a:lstStyle/>
        <a:p>
          <a:endParaRPr lang="en-US"/>
        </a:p>
      </dgm:t>
    </dgm:pt>
    <dgm:pt modelId="{9B62143C-B52A-423D-93D1-3D0DE5FE8BD5}" type="sibTrans" cxnId="{12D888DF-891D-413B-9BD8-32570D1C378F}">
      <dgm:prSet/>
      <dgm:spPr/>
      <dgm:t>
        <a:bodyPr/>
        <a:lstStyle/>
        <a:p>
          <a:endParaRPr lang="en-US"/>
        </a:p>
      </dgm:t>
    </dgm:pt>
    <dgm:pt modelId="{4EBEB88B-658D-4544-AA28-F6D01A3F8CE0}">
      <dgm:prSet phldrT="[Text]"/>
      <dgm:spPr>
        <a:solidFill>
          <a:srgbClr val="92D050"/>
        </a:solidFill>
      </dgm:spPr>
      <dgm:t>
        <a:bodyPr/>
        <a:lstStyle/>
        <a:p>
          <a:r>
            <a:rPr lang="en-US" b="0" u="sng" dirty="0" err="1">
              <a:solidFill>
                <a:schemeClr val="tx1"/>
              </a:solidFill>
            </a:rPr>
            <a:t>Decentralised</a:t>
          </a:r>
          <a:r>
            <a:rPr lang="en-US" b="0" u="sng" dirty="0">
              <a:solidFill>
                <a:schemeClr val="tx1"/>
              </a:solidFill>
            </a:rPr>
            <a:t> Control</a:t>
          </a:r>
        </a:p>
        <a:p>
          <a:br>
            <a:rPr lang="en-US" dirty="0">
              <a:solidFill>
                <a:schemeClr val="tx1"/>
              </a:solidFill>
            </a:rPr>
          </a:br>
          <a:r>
            <a:rPr lang="en-US" dirty="0">
              <a:solidFill>
                <a:schemeClr val="tx1"/>
              </a:solidFill>
            </a:rPr>
            <a:t>Donors involved have more Control and Decision making power on their part. </a:t>
          </a:r>
        </a:p>
      </dgm:t>
    </dgm:pt>
    <dgm:pt modelId="{49ADB406-D3CA-4F00-813D-528BF698BDC2}" type="parTrans" cxnId="{7256FF9C-16AD-4E51-BC7D-CCFBF34A0DA8}">
      <dgm:prSet/>
      <dgm:spPr/>
      <dgm:t>
        <a:bodyPr/>
        <a:lstStyle/>
        <a:p>
          <a:endParaRPr lang="en-US"/>
        </a:p>
      </dgm:t>
    </dgm:pt>
    <dgm:pt modelId="{3ECE9748-1F5E-4513-9309-28079D185E71}" type="sibTrans" cxnId="{7256FF9C-16AD-4E51-BC7D-CCFBF34A0DA8}">
      <dgm:prSet/>
      <dgm:spPr>
        <a:solidFill>
          <a:schemeClr val="tx1"/>
        </a:solidFill>
      </dgm:spPr>
      <dgm:t>
        <a:bodyPr/>
        <a:lstStyle/>
        <a:p>
          <a:endParaRPr lang="en-US"/>
        </a:p>
      </dgm:t>
    </dgm:pt>
    <dgm:pt modelId="{354164DD-A8E1-4E44-B0E9-359401DB2FFE}">
      <dgm:prSet phldrT="[Text]"/>
      <dgm:spPr>
        <a:solidFill>
          <a:srgbClr val="92D050"/>
        </a:solidFill>
      </dgm:spPr>
      <dgm:t>
        <a:bodyPr/>
        <a:lstStyle/>
        <a:p>
          <a:r>
            <a:rPr lang="en-US" u="sng" dirty="0">
              <a:solidFill>
                <a:schemeClr val="tx1"/>
              </a:solidFill>
            </a:rPr>
            <a:t>Transparency</a:t>
          </a:r>
        </a:p>
        <a:p>
          <a:r>
            <a:rPr lang="en-US" dirty="0">
              <a:solidFill>
                <a:schemeClr val="tx1"/>
              </a:solidFill>
            </a:rPr>
            <a:t> Showcasing history of transactions by Campaigns to Third party vendors</a:t>
          </a:r>
        </a:p>
      </dgm:t>
    </dgm:pt>
    <dgm:pt modelId="{194867B1-1C78-4B9F-B7D3-A96F742FFD19}" type="parTrans" cxnId="{880A9706-F1EA-47C7-8F80-2C347A8A488B}">
      <dgm:prSet/>
      <dgm:spPr/>
      <dgm:t>
        <a:bodyPr/>
        <a:lstStyle/>
        <a:p>
          <a:endParaRPr lang="en-US"/>
        </a:p>
      </dgm:t>
    </dgm:pt>
    <dgm:pt modelId="{43E61ABB-6D6A-48B0-B53E-F082390C2AEA}" type="sibTrans" cxnId="{880A9706-F1EA-47C7-8F80-2C347A8A488B}">
      <dgm:prSet/>
      <dgm:spPr>
        <a:solidFill>
          <a:schemeClr val="tx1"/>
        </a:solidFill>
      </dgm:spPr>
      <dgm:t>
        <a:bodyPr/>
        <a:lstStyle/>
        <a:p>
          <a:endParaRPr lang="en-US"/>
        </a:p>
      </dgm:t>
    </dgm:pt>
    <dgm:pt modelId="{81BEBC96-42A4-436D-944D-F714F0851A6F}">
      <dgm:prSet phldrT="[Text]"/>
      <dgm:spPr>
        <a:solidFill>
          <a:srgbClr val="92D050"/>
        </a:solidFill>
      </dgm:spPr>
      <dgm:t>
        <a:bodyPr/>
        <a:lstStyle/>
        <a:p>
          <a:r>
            <a:rPr lang="en-US" u="sng" dirty="0">
              <a:solidFill>
                <a:schemeClr val="tx1"/>
              </a:solidFill>
            </a:rPr>
            <a:t>Security</a:t>
          </a:r>
        </a:p>
        <a:p>
          <a:r>
            <a:rPr lang="en-US" dirty="0">
              <a:solidFill>
                <a:schemeClr val="tx1"/>
              </a:solidFill>
            </a:rPr>
            <a:t> Ether transactions are cryptographically secured</a:t>
          </a:r>
        </a:p>
      </dgm:t>
    </dgm:pt>
    <dgm:pt modelId="{8A87237F-43CF-4D63-AAFB-88634AE132CA}" type="parTrans" cxnId="{CC6352B2-E61A-449C-9D55-3422C99847A7}">
      <dgm:prSet/>
      <dgm:spPr/>
      <dgm:t>
        <a:bodyPr/>
        <a:lstStyle/>
        <a:p>
          <a:endParaRPr lang="en-US"/>
        </a:p>
      </dgm:t>
    </dgm:pt>
    <dgm:pt modelId="{DDD9E83F-E3A1-4D95-971C-A991485E5A0E}" type="sibTrans" cxnId="{CC6352B2-E61A-449C-9D55-3422C99847A7}">
      <dgm:prSet/>
      <dgm:spPr>
        <a:solidFill>
          <a:schemeClr val="tx1"/>
        </a:solidFill>
      </dgm:spPr>
      <dgm:t>
        <a:bodyPr/>
        <a:lstStyle/>
        <a:p>
          <a:endParaRPr lang="en-US"/>
        </a:p>
      </dgm:t>
    </dgm:pt>
    <dgm:pt modelId="{2A984149-4CE2-424B-8DD3-F02F55EECF64}">
      <dgm:prSet phldrT="[Text]"/>
      <dgm:spPr>
        <a:solidFill>
          <a:srgbClr val="92D050"/>
        </a:solidFill>
      </dgm:spPr>
      <dgm:t>
        <a:bodyPr/>
        <a:lstStyle/>
        <a:p>
          <a:r>
            <a:rPr lang="en-US" u="sng" dirty="0">
              <a:solidFill>
                <a:schemeClr val="tx1"/>
              </a:solidFill>
            </a:rPr>
            <a:t>Accountability</a:t>
          </a:r>
        </a:p>
        <a:p>
          <a:r>
            <a:rPr lang="en-US" dirty="0">
              <a:solidFill>
                <a:schemeClr val="tx1"/>
              </a:solidFill>
            </a:rPr>
            <a:t> Charities will have to justify their financial decisions to the donors by creating Spending Requests.</a:t>
          </a:r>
        </a:p>
      </dgm:t>
    </dgm:pt>
    <dgm:pt modelId="{B0190ADA-F64C-4339-B748-FF78F56F1750}" type="parTrans" cxnId="{8F8F11F1-60F8-4515-9884-9ECF068A6489}">
      <dgm:prSet/>
      <dgm:spPr/>
      <dgm:t>
        <a:bodyPr/>
        <a:lstStyle/>
        <a:p>
          <a:endParaRPr lang="en-US"/>
        </a:p>
      </dgm:t>
    </dgm:pt>
    <dgm:pt modelId="{DB8EE88C-1012-4365-A3CA-36CB86C96FC5}" type="sibTrans" cxnId="{8F8F11F1-60F8-4515-9884-9ECF068A6489}">
      <dgm:prSet/>
      <dgm:spPr>
        <a:solidFill>
          <a:schemeClr val="tx1"/>
        </a:solidFill>
      </dgm:spPr>
      <dgm:t>
        <a:bodyPr/>
        <a:lstStyle/>
        <a:p>
          <a:endParaRPr lang="en-US"/>
        </a:p>
      </dgm:t>
    </dgm:pt>
    <dgm:pt modelId="{B7A8F1A1-3B38-4E18-9114-F262F65A1612}" type="pres">
      <dgm:prSet presAssocID="{B1D38B75-C8DC-4344-9340-F0E9057DC19A}" presName="Name0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4DEEC004-B19A-44E6-9670-630E1EAC2195}" type="pres">
      <dgm:prSet presAssocID="{18F1AE97-1D62-4A04-8941-1F13E8CBA743}" presName="centerShape" presStyleLbl="node0" presStyleIdx="0" presStyleCnt="1" custScaleX="95146" custScaleY="87198"/>
      <dgm:spPr/>
    </dgm:pt>
    <dgm:pt modelId="{3959ECD8-AB67-416C-BE11-BAF07EC7A7C2}" type="pres">
      <dgm:prSet presAssocID="{4EBEB88B-658D-4544-AA28-F6D01A3F8CE0}" presName="node" presStyleLbl="node1" presStyleIdx="0" presStyleCnt="4" custScaleX="146232" custScaleY="132884" custRadScaleRad="90225">
        <dgm:presLayoutVars>
          <dgm:bulletEnabled val="1"/>
        </dgm:presLayoutVars>
      </dgm:prSet>
      <dgm:spPr/>
    </dgm:pt>
    <dgm:pt modelId="{47AB65B5-85A9-4991-8AF9-8A53FAE9D853}" type="pres">
      <dgm:prSet presAssocID="{4EBEB88B-658D-4544-AA28-F6D01A3F8CE0}" presName="dummy" presStyleCnt="0"/>
      <dgm:spPr/>
    </dgm:pt>
    <dgm:pt modelId="{61C12617-4293-4B06-B74E-D22C2B786CB0}" type="pres">
      <dgm:prSet presAssocID="{3ECE9748-1F5E-4513-9309-28079D185E71}" presName="sibTrans" presStyleLbl="sibTrans2D1" presStyleIdx="0" presStyleCnt="4"/>
      <dgm:spPr/>
    </dgm:pt>
    <dgm:pt modelId="{B9FB1FA6-2931-467C-8929-2C9F12818C63}" type="pres">
      <dgm:prSet presAssocID="{354164DD-A8E1-4E44-B0E9-359401DB2FFE}" presName="node" presStyleLbl="node1" presStyleIdx="1" presStyleCnt="4" custScaleX="141154" custScaleY="135136">
        <dgm:presLayoutVars>
          <dgm:bulletEnabled val="1"/>
        </dgm:presLayoutVars>
      </dgm:prSet>
      <dgm:spPr/>
    </dgm:pt>
    <dgm:pt modelId="{9AD0B9D0-854B-4DBA-98FE-641521237B01}" type="pres">
      <dgm:prSet presAssocID="{354164DD-A8E1-4E44-B0E9-359401DB2FFE}" presName="dummy" presStyleCnt="0"/>
      <dgm:spPr/>
    </dgm:pt>
    <dgm:pt modelId="{589D1167-1CE9-4D8C-A74A-03E600F31E0D}" type="pres">
      <dgm:prSet presAssocID="{43E61ABB-6D6A-48B0-B53E-F082390C2AEA}" presName="sibTrans" presStyleLbl="sibTrans2D1" presStyleIdx="1" presStyleCnt="4"/>
      <dgm:spPr/>
    </dgm:pt>
    <dgm:pt modelId="{DF5CB101-B85E-49A9-9419-745746E08CD6}" type="pres">
      <dgm:prSet presAssocID="{81BEBC96-42A4-436D-944D-F714F0851A6F}" presName="node" presStyleLbl="node1" presStyleIdx="2" presStyleCnt="4" custScaleX="137582" custScaleY="123568" custRadScaleRad="91076">
        <dgm:presLayoutVars>
          <dgm:bulletEnabled val="1"/>
        </dgm:presLayoutVars>
      </dgm:prSet>
      <dgm:spPr/>
    </dgm:pt>
    <dgm:pt modelId="{839AD83C-9E83-4E7F-88EF-EC3D1E8413BF}" type="pres">
      <dgm:prSet presAssocID="{81BEBC96-42A4-436D-944D-F714F0851A6F}" presName="dummy" presStyleCnt="0"/>
      <dgm:spPr/>
    </dgm:pt>
    <dgm:pt modelId="{B1A1C22C-F753-429C-BF2D-6472F07FA6CF}" type="pres">
      <dgm:prSet presAssocID="{DDD9E83F-E3A1-4D95-971C-A991485E5A0E}" presName="sibTrans" presStyleLbl="sibTrans2D1" presStyleIdx="2" presStyleCnt="4"/>
      <dgm:spPr/>
    </dgm:pt>
    <dgm:pt modelId="{E80F6D6F-EE7C-499F-89ED-E037BF89AC63}" type="pres">
      <dgm:prSet presAssocID="{2A984149-4CE2-424B-8DD3-F02F55EECF64}" presName="node" presStyleLbl="node1" presStyleIdx="3" presStyleCnt="4" custScaleX="137337" custScaleY="132158">
        <dgm:presLayoutVars>
          <dgm:bulletEnabled val="1"/>
        </dgm:presLayoutVars>
      </dgm:prSet>
      <dgm:spPr/>
    </dgm:pt>
    <dgm:pt modelId="{FD8E7DBA-7D08-4925-A08F-F7C90F8F51F2}" type="pres">
      <dgm:prSet presAssocID="{2A984149-4CE2-424B-8DD3-F02F55EECF64}" presName="dummy" presStyleCnt="0"/>
      <dgm:spPr/>
    </dgm:pt>
    <dgm:pt modelId="{5DC9148D-4103-41AF-8B0E-125B6AAEA475}" type="pres">
      <dgm:prSet presAssocID="{DB8EE88C-1012-4365-A3CA-36CB86C96FC5}" presName="sibTrans" presStyleLbl="sibTrans2D1" presStyleIdx="3" presStyleCnt="4"/>
      <dgm:spPr/>
    </dgm:pt>
  </dgm:ptLst>
  <dgm:cxnLst>
    <dgm:cxn modelId="{880A9706-F1EA-47C7-8F80-2C347A8A488B}" srcId="{18F1AE97-1D62-4A04-8941-1F13E8CBA743}" destId="{354164DD-A8E1-4E44-B0E9-359401DB2FFE}" srcOrd="1" destOrd="0" parTransId="{194867B1-1C78-4B9F-B7D3-A96F742FFD19}" sibTransId="{43E61ABB-6D6A-48B0-B53E-F082390C2AEA}"/>
    <dgm:cxn modelId="{24714933-8A6D-4D5E-95DD-97A1BDA02FC3}" type="presOf" srcId="{3ECE9748-1F5E-4513-9309-28079D185E71}" destId="{61C12617-4293-4B06-B74E-D22C2B786CB0}" srcOrd="0" destOrd="0" presId="urn:microsoft.com/office/officeart/2005/8/layout/radial6"/>
    <dgm:cxn modelId="{D21A465E-4568-405C-B8F2-33B82A21D3BD}" type="presOf" srcId="{354164DD-A8E1-4E44-B0E9-359401DB2FFE}" destId="{B9FB1FA6-2931-467C-8929-2C9F12818C63}" srcOrd="0" destOrd="0" presId="urn:microsoft.com/office/officeart/2005/8/layout/radial6"/>
    <dgm:cxn modelId="{3DA3C36F-904A-4E87-877E-3517119CB168}" type="presOf" srcId="{4EBEB88B-658D-4544-AA28-F6D01A3F8CE0}" destId="{3959ECD8-AB67-416C-BE11-BAF07EC7A7C2}" srcOrd="0" destOrd="0" presId="urn:microsoft.com/office/officeart/2005/8/layout/radial6"/>
    <dgm:cxn modelId="{5CB77F53-A028-45E1-8F57-B94A4A2F056D}" type="presOf" srcId="{2A984149-4CE2-424B-8DD3-F02F55EECF64}" destId="{E80F6D6F-EE7C-499F-89ED-E037BF89AC63}" srcOrd="0" destOrd="0" presId="urn:microsoft.com/office/officeart/2005/8/layout/radial6"/>
    <dgm:cxn modelId="{66646579-E175-40D8-8501-283686C7651D}" type="presOf" srcId="{18F1AE97-1D62-4A04-8941-1F13E8CBA743}" destId="{4DEEC004-B19A-44E6-9670-630E1EAC2195}" srcOrd="0" destOrd="0" presId="urn:microsoft.com/office/officeart/2005/8/layout/radial6"/>
    <dgm:cxn modelId="{7256FF9C-16AD-4E51-BC7D-CCFBF34A0DA8}" srcId="{18F1AE97-1D62-4A04-8941-1F13E8CBA743}" destId="{4EBEB88B-658D-4544-AA28-F6D01A3F8CE0}" srcOrd="0" destOrd="0" parTransId="{49ADB406-D3CA-4F00-813D-528BF698BDC2}" sibTransId="{3ECE9748-1F5E-4513-9309-28079D185E71}"/>
    <dgm:cxn modelId="{CC6352B2-E61A-449C-9D55-3422C99847A7}" srcId="{18F1AE97-1D62-4A04-8941-1F13E8CBA743}" destId="{81BEBC96-42A4-436D-944D-F714F0851A6F}" srcOrd="2" destOrd="0" parTransId="{8A87237F-43CF-4D63-AAFB-88634AE132CA}" sibTransId="{DDD9E83F-E3A1-4D95-971C-A991485E5A0E}"/>
    <dgm:cxn modelId="{E593F2C1-670E-410F-8FFB-9D57DFA15C6A}" type="presOf" srcId="{81BEBC96-42A4-436D-944D-F714F0851A6F}" destId="{DF5CB101-B85E-49A9-9419-745746E08CD6}" srcOrd="0" destOrd="0" presId="urn:microsoft.com/office/officeart/2005/8/layout/radial6"/>
    <dgm:cxn modelId="{C0DF16DC-E8F6-4203-8EF8-C2919CC81B43}" type="presOf" srcId="{B1D38B75-C8DC-4344-9340-F0E9057DC19A}" destId="{B7A8F1A1-3B38-4E18-9114-F262F65A1612}" srcOrd="0" destOrd="0" presId="urn:microsoft.com/office/officeart/2005/8/layout/radial6"/>
    <dgm:cxn modelId="{12D888DF-891D-413B-9BD8-32570D1C378F}" srcId="{B1D38B75-C8DC-4344-9340-F0E9057DC19A}" destId="{18F1AE97-1D62-4A04-8941-1F13E8CBA743}" srcOrd="0" destOrd="0" parTransId="{FA15EF9E-7C0A-43AD-A1ED-97DF9EC01BBF}" sibTransId="{9B62143C-B52A-423D-93D1-3D0DE5FE8BD5}"/>
    <dgm:cxn modelId="{574DA3E0-616C-4CD4-9086-885B084DAAC0}" type="presOf" srcId="{43E61ABB-6D6A-48B0-B53E-F082390C2AEA}" destId="{589D1167-1CE9-4D8C-A74A-03E600F31E0D}" srcOrd="0" destOrd="0" presId="urn:microsoft.com/office/officeart/2005/8/layout/radial6"/>
    <dgm:cxn modelId="{910AD2F0-127B-4168-B512-CA9649D931E5}" type="presOf" srcId="{DDD9E83F-E3A1-4D95-971C-A991485E5A0E}" destId="{B1A1C22C-F753-429C-BF2D-6472F07FA6CF}" srcOrd="0" destOrd="0" presId="urn:microsoft.com/office/officeart/2005/8/layout/radial6"/>
    <dgm:cxn modelId="{8F8F11F1-60F8-4515-9884-9ECF068A6489}" srcId="{18F1AE97-1D62-4A04-8941-1F13E8CBA743}" destId="{2A984149-4CE2-424B-8DD3-F02F55EECF64}" srcOrd="3" destOrd="0" parTransId="{B0190ADA-F64C-4339-B748-FF78F56F1750}" sibTransId="{DB8EE88C-1012-4365-A3CA-36CB86C96FC5}"/>
    <dgm:cxn modelId="{345095F8-A3E7-4FBA-9ACD-4307B9634AC2}" type="presOf" srcId="{DB8EE88C-1012-4365-A3CA-36CB86C96FC5}" destId="{5DC9148D-4103-41AF-8B0E-125B6AAEA475}" srcOrd="0" destOrd="0" presId="urn:microsoft.com/office/officeart/2005/8/layout/radial6"/>
    <dgm:cxn modelId="{C18FFB62-9A4C-41A8-8230-511256F832AD}" type="presParOf" srcId="{B7A8F1A1-3B38-4E18-9114-F262F65A1612}" destId="{4DEEC004-B19A-44E6-9670-630E1EAC2195}" srcOrd="0" destOrd="0" presId="urn:microsoft.com/office/officeart/2005/8/layout/radial6"/>
    <dgm:cxn modelId="{20A63537-99FF-4CC4-B595-7D015ACD856E}" type="presParOf" srcId="{B7A8F1A1-3B38-4E18-9114-F262F65A1612}" destId="{3959ECD8-AB67-416C-BE11-BAF07EC7A7C2}" srcOrd="1" destOrd="0" presId="urn:microsoft.com/office/officeart/2005/8/layout/radial6"/>
    <dgm:cxn modelId="{04CBF638-A2A8-48D0-8F7C-7CC60DD6C4BB}" type="presParOf" srcId="{B7A8F1A1-3B38-4E18-9114-F262F65A1612}" destId="{47AB65B5-85A9-4991-8AF9-8A53FAE9D853}" srcOrd="2" destOrd="0" presId="urn:microsoft.com/office/officeart/2005/8/layout/radial6"/>
    <dgm:cxn modelId="{72E94852-8F38-4E99-B276-A05969BA7249}" type="presParOf" srcId="{B7A8F1A1-3B38-4E18-9114-F262F65A1612}" destId="{61C12617-4293-4B06-B74E-D22C2B786CB0}" srcOrd="3" destOrd="0" presId="urn:microsoft.com/office/officeart/2005/8/layout/radial6"/>
    <dgm:cxn modelId="{C71B85BA-9E49-41DC-872E-9EE7FAB54BE1}" type="presParOf" srcId="{B7A8F1A1-3B38-4E18-9114-F262F65A1612}" destId="{B9FB1FA6-2931-467C-8929-2C9F12818C63}" srcOrd="4" destOrd="0" presId="urn:microsoft.com/office/officeart/2005/8/layout/radial6"/>
    <dgm:cxn modelId="{84AAA9A9-1494-4FFE-B505-B744B0A37655}" type="presParOf" srcId="{B7A8F1A1-3B38-4E18-9114-F262F65A1612}" destId="{9AD0B9D0-854B-4DBA-98FE-641521237B01}" srcOrd="5" destOrd="0" presId="urn:microsoft.com/office/officeart/2005/8/layout/radial6"/>
    <dgm:cxn modelId="{BDF1A073-FAEC-436F-8E29-A1DA6587F1E6}" type="presParOf" srcId="{B7A8F1A1-3B38-4E18-9114-F262F65A1612}" destId="{589D1167-1CE9-4D8C-A74A-03E600F31E0D}" srcOrd="6" destOrd="0" presId="urn:microsoft.com/office/officeart/2005/8/layout/radial6"/>
    <dgm:cxn modelId="{9BE400DE-A168-4D33-99E5-0D635302D96F}" type="presParOf" srcId="{B7A8F1A1-3B38-4E18-9114-F262F65A1612}" destId="{DF5CB101-B85E-49A9-9419-745746E08CD6}" srcOrd="7" destOrd="0" presId="urn:microsoft.com/office/officeart/2005/8/layout/radial6"/>
    <dgm:cxn modelId="{E6336116-DECF-43FB-9967-154535EBBEC9}" type="presParOf" srcId="{B7A8F1A1-3B38-4E18-9114-F262F65A1612}" destId="{839AD83C-9E83-4E7F-88EF-EC3D1E8413BF}" srcOrd="8" destOrd="0" presId="urn:microsoft.com/office/officeart/2005/8/layout/radial6"/>
    <dgm:cxn modelId="{9544340E-7753-4187-8AD0-0DB332A7F420}" type="presParOf" srcId="{B7A8F1A1-3B38-4E18-9114-F262F65A1612}" destId="{B1A1C22C-F753-429C-BF2D-6472F07FA6CF}" srcOrd="9" destOrd="0" presId="urn:microsoft.com/office/officeart/2005/8/layout/radial6"/>
    <dgm:cxn modelId="{9E59D7D3-88D9-46CA-94C6-3B56C7D5D588}" type="presParOf" srcId="{B7A8F1A1-3B38-4E18-9114-F262F65A1612}" destId="{E80F6D6F-EE7C-499F-89ED-E037BF89AC63}" srcOrd="10" destOrd="0" presId="urn:microsoft.com/office/officeart/2005/8/layout/radial6"/>
    <dgm:cxn modelId="{8A15DF96-2861-4D79-ABCA-0F2A3480B13B}" type="presParOf" srcId="{B7A8F1A1-3B38-4E18-9114-F262F65A1612}" destId="{FD8E7DBA-7D08-4925-A08F-F7C90F8F51F2}" srcOrd="11" destOrd="0" presId="urn:microsoft.com/office/officeart/2005/8/layout/radial6"/>
    <dgm:cxn modelId="{55226FB0-D791-4BD7-BF3C-C775E1DBF11D}" type="presParOf" srcId="{B7A8F1A1-3B38-4E18-9114-F262F65A1612}" destId="{5DC9148D-4103-41AF-8B0E-125B6AAEA475}" srcOrd="12" destOrd="0" presId="urn:microsoft.com/office/officeart/2005/8/layout/radial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238DA67-F9CA-42FD-B005-3994DCD2C71E}">
      <dsp:nvSpPr>
        <dsp:cNvPr id="0" name=""/>
        <dsp:cNvSpPr/>
      </dsp:nvSpPr>
      <dsp:spPr>
        <a:xfrm rot="5400000">
          <a:off x="-214926" y="215030"/>
          <a:ext cx="1432846" cy="1002992"/>
        </a:xfrm>
        <a:prstGeom prst="chevron">
          <a:avLst/>
        </a:prstGeom>
        <a:solidFill>
          <a:srgbClr val="92D050"/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>
              <a:solidFill>
                <a:schemeClr val="tx1"/>
              </a:solidFill>
            </a:rPr>
            <a:t>Donation</a:t>
          </a:r>
        </a:p>
      </dsp:txBody>
      <dsp:txXfrm rot="-5400000">
        <a:off x="1" y="501599"/>
        <a:ext cx="1002992" cy="429854"/>
      </dsp:txXfrm>
    </dsp:sp>
    <dsp:sp modelId="{59C0040B-1391-46A7-A753-08BC63279767}">
      <dsp:nvSpPr>
        <dsp:cNvPr id="0" name=""/>
        <dsp:cNvSpPr/>
      </dsp:nvSpPr>
      <dsp:spPr>
        <a:xfrm rot="5400000">
          <a:off x="3854751" y="-2851655"/>
          <a:ext cx="931350" cy="6634868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5128" tIns="12065" rIns="12065" bIns="12065" numCol="1" spcCol="1270" anchor="ctr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1900" kern="1200" dirty="0"/>
            <a:t>Members of the general public contributing to a Campaign fund in the form of Ether</a:t>
          </a:r>
        </a:p>
      </dsp:txBody>
      <dsp:txXfrm rot="-5400000">
        <a:off x="1002993" y="45568"/>
        <a:ext cx="6589403" cy="840420"/>
      </dsp:txXfrm>
    </dsp:sp>
    <dsp:sp modelId="{AF7A17A2-56E5-4985-B7AD-0785C93F27D4}">
      <dsp:nvSpPr>
        <dsp:cNvPr id="0" name=""/>
        <dsp:cNvSpPr/>
      </dsp:nvSpPr>
      <dsp:spPr>
        <a:xfrm rot="5400000">
          <a:off x="-214926" y="1502971"/>
          <a:ext cx="1432846" cy="1002992"/>
        </a:xfrm>
        <a:prstGeom prst="chevron">
          <a:avLst/>
        </a:prstGeom>
        <a:solidFill>
          <a:srgbClr val="92D050"/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>
              <a:solidFill>
                <a:schemeClr val="tx1"/>
              </a:solidFill>
            </a:rPr>
            <a:t>Spending Request </a:t>
          </a:r>
          <a:endParaRPr lang="en-US" sz="1400" kern="1200" dirty="0">
            <a:solidFill>
              <a:schemeClr val="tx1"/>
            </a:solidFill>
          </a:endParaRPr>
        </a:p>
      </dsp:txBody>
      <dsp:txXfrm rot="-5400000">
        <a:off x="1" y="1789540"/>
        <a:ext cx="1002992" cy="429854"/>
      </dsp:txXfrm>
    </dsp:sp>
    <dsp:sp modelId="{80C308CD-E614-4B2A-8845-8B0BFE0D710F}">
      <dsp:nvSpPr>
        <dsp:cNvPr id="0" name=""/>
        <dsp:cNvSpPr/>
      </dsp:nvSpPr>
      <dsp:spPr>
        <a:xfrm rot="5400000">
          <a:off x="3854751" y="-1563714"/>
          <a:ext cx="931350" cy="6634868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5128" tIns="12065" rIns="12065" bIns="12065" numCol="1" spcCol="1270" anchor="ctr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900" kern="1200" dirty="0"/>
            <a:t>Manager creating a Request to disburse certain amount of that Campaign fund to a vendor by specifying the Vendor Ether wallet address, Ether Amount, and purpose of that Expenditure</a:t>
          </a:r>
        </a:p>
      </dsp:txBody>
      <dsp:txXfrm rot="-5400000">
        <a:off x="1002993" y="1333509"/>
        <a:ext cx="6589403" cy="840420"/>
      </dsp:txXfrm>
    </dsp:sp>
    <dsp:sp modelId="{7ACC8E58-44B2-439B-B46D-33A69B1BE71F}">
      <dsp:nvSpPr>
        <dsp:cNvPr id="0" name=""/>
        <dsp:cNvSpPr/>
      </dsp:nvSpPr>
      <dsp:spPr>
        <a:xfrm rot="5400000">
          <a:off x="-214926" y="2801386"/>
          <a:ext cx="1432846" cy="1002992"/>
        </a:xfrm>
        <a:prstGeom prst="chevron">
          <a:avLst/>
        </a:prstGeom>
        <a:solidFill>
          <a:srgbClr val="92D050"/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 dirty="0">
              <a:solidFill>
                <a:schemeClr val="tx1"/>
              </a:solidFill>
            </a:rPr>
            <a:t>Approval</a:t>
          </a:r>
          <a:endParaRPr lang="en-US" sz="1600" kern="1200" dirty="0">
            <a:solidFill>
              <a:schemeClr val="tx1"/>
            </a:solidFill>
          </a:endParaRPr>
        </a:p>
      </dsp:txBody>
      <dsp:txXfrm rot="-5400000">
        <a:off x="1" y="3087955"/>
        <a:ext cx="1002992" cy="429854"/>
      </dsp:txXfrm>
    </dsp:sp>
    <dsp:sp modelId="{3A6DC5D9-8E9A-4B04-9AC6-9A4F1CF085C1}">
      <dsp:nvSpPr>
        <dsp:cNvPr id="0" name=""/>
        <dsp:cNvSpPr/>
      </dsp:nvSpPr>
      <dsp:spPr>
        <a:xfrm rot="5400000">
          <a:off x="3854751" y="-275774"/>
          <a:ext cx="931350" cy="6634868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5128" tIns="12065" rIns="12065" bIns="12065" numCol="1" spcCol="1270" anchor="ctr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900" kern="1200" dirty="0"/>
            <a:t>Approval from more than 50% of the Donors on a particular Spending Request</a:t>
          </a:r>
        </a:p>
      </dsp:txBody>
      <dsp:txXfrm rot="-5400000">
        <a:off x="1002993" y="2621449"/>
        <a:ext cx="6589403" cy="840420"/>
      </dsp:txXfrm>
    </dsp:sp>
    <dsp:sp modelId="{D1EDB8C1-67C8-4727-89FC-25F03B74EC87}">
      <dsp:nvSpPr>
        <dsp:cNvPr id="0" name=""/>
        <dsp:cNvSpPr/>
      </dsp:nvSpPr>
      <dsp:spPr>
        <a:xfrm rot="5400000">
          <a:off x="-214926" y="4078852"/>
          <a:ext cx="1432846" cy="1002992"/>
        </a:xfrm>
        <a:prstGeom prst="chevron">
          <a:avLst/>
        </a:prstGeom>
        <a:solidFill>
          <a:srgbClr val="92D050"/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 dirty="0" err="1">
              <a:solidFill>
                <a:schemeClr val="tx1"/>
              </a:solidFill>
            </a:rPr>
            <a:t>Finalisation</a:t>
          </a:r>
          <a:endParaRPr lang="en-US" sz="1600" kern="1200" dirty="0">
            <a:solidFill>
              <a:schemeClr val="tx1"/>
            </a:solidFill>
          </a:endParaRPr>
        </a:p>
      </dsp:txBody>
      <dsp:txXfrm rot="-5400000">
        <a:off x="1" y="4365421"/>
        <a:ext cx="1002992" cy="429854"/>
      </dsp:txXfrm>
    </dsp:sp>
    <dsp:sp modelId="{08E108D1-0339-4BCC-A70B-884686A12382}">
      <dsp:nvSpPr>
        <dsp:cNvPr id="0" name=""/>
        <dsp:cNvSpPr/>
      </dsp:nvSpPr>
      <dsp:spPr>
        <a:xfrm rot="5400000">
          <a:off x="3854751" y="1012166"/>
          <a:ext cx="931350" cy="6634868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5128" tIns="12065" rIns="12065" bIns="12065" numCol="1" spcCol="1270" anchor="ctr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900" kern="1200" dirty="0"/>
            <a:t>Manager sending over the payment to the vendor after getting approval</a:t>
          </a:r>
        </a:p>
      </dsp:txBody>
      <dsp:txXfrm rot="-5400000">
        <a:off x="1002993" y="3909390"/>
        <a:ext cx="6589403" cy="84042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DC9148D-4103-41AF-8B0E-125B6AAEA475}">
      <dsp:nvSpPr>
        <dsp:cNvPr id="0" name=""/>
        <dsp:cNvSpPr/>
      </dsp:nvSpPr>
      <dsp:spPr>
        <a:xfrm>
          <a:off x="2284633" y="981407"/>
          <a:ext cx="4789567" cy="4789567"/>
        </a:xfrm>
        <a:prstGeom prst="blockArc">
          <a:avLst>
            <a:gd name="adj1" fmla="val 11136538"/>
            <a:gd name="adj2" fmla="val 16216460"/>
            <a:gd name="adj3" fmla="val 4642"/>
          </a:avLst>
        </a:prstGeom>
        <a:solidFill>
          <a:schemeClr val="tx1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1A1C22C-F753-429C-BF2D-6472F07FA6CF}">
      <dsp:nvSpPr>
        <dsp:cNvPr id="0" name=""/>
        <dsp:cNvSpPr/>
      </dsp:nvSpPr>
      <dsp:spPr>
        <a:xfrm>
          <a:off x="2286502" y="544046"/>
          <a:ext cx="4789567" cy="4789567"/>
        </a:xfrm>
        <a:prstGeom prst="blockArc">
          <a:avLst>
            <a:gd name="adj1" fmla="val 5386286"/>
            <a:gd name="adj2" fmla="val 10492834"/>
            <a:gd name="adj3" fmla="val 4642"/>
          </a:avLst>
        </a:prstGeom>
        <a:solidFill>
          <a:schemeClr val="tx1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89D1167-1CE9-4D8C-A74A-03E600F31E0D}">
      <dsp:nvSpPr>
        <dsp:cNvPr id="0" name=""/>
        <dsp:cNvSpPr/>
      </dsp:nvSpPr>
      <dsp:spPr>
        <a:xfrm>
          <a:off x="2305165" y="544046"/>
          <a:ext cx="4789567" cy="4789567"/>
        </a:xfrm>
        <a:prstGeom prst="blockArc">
          <a:avLst>
            <a:gd name="adj1" fmla="val 307166"/>
            <a:gd name="adj2" fmla="val 5413714"/>
            <a:gd name="adj3" fmla="val 4642"/>
          </a:avLst>
        </a:prstGeom>
        <a:solidFill>
          <a:schemeClr val="tx1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1C12617-4293-4B06-B74E-D22C2B786CB0}">
      <dsp:nvSpPr>
        <dsp:cNvPr id="0" name=""/>
        <dsp:cNvSpPr/>
      </dsp:nvSpPr>
      <dsp:spPr>
        <a:xfrm>
          <a:off x="2307033" y="981407"/>
          <a:ext cx="4789567" cy="4789567"/>
        </a:xfrm>
        <a:prstGeom prst="blockArc">
          <a:avLst>
            <a:gd name="adj1" fmla="val 16183540"/>
            <a:gd name="adj2" fmla="val 21263462"/>
            <a:gd name="adj3" fmla="val 4642"/>
          </a:avLst>
        </a:prstGeom>
        <a:solidFill>
          <a:schemeClr val="tx1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DEEC004-B19A-44E6-9670-630E1EAC2195}">
      <dsp:nvSpPr>
        <dsp:cNvPr id="0" name=""/>
        <dsp:cNvSpPr/>
      </dsp:nvSpPr>
      <dsp:spPr>
        <a:xfrm>
          <a:off x="3641331" y="2185927"/>
          <a:ext cx="2098571" cy="1923267"/>
        </a:xfrm>
        <a:prstGeom prst="ellipse">
          <a:avLst/>
        </a:prstGeom>
        <a:solidFill>
          <a:srgbClr val="92D05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750" tIns="31750" rIns="31750" bIns="317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 dirty="0">
              <a:solidFill>
                <a:schemeClr val="tx1"/>
              </a:solidFill>
            </a:rPr>
            <a:t>Ethereum Blockchain Solution</a:t>
          </a:r>
        </a:p>
      </dsp:txBody>
      <dsp:txXfrm>
        <a:off x="3948660" y="2467583"/>
        <a:ext cx="1483913" cy="1359955"/>
      </dsp:txXfrm>
    </dsp:sp>
    <dsp:sp modelId="{3959ECD8-AB67-416C-BE11-BAF07EC7A7C2}">
      <dsp:nvSpPr>
        <dsp:cNvPr id="0" name=""/>
        <dsp:cNvSpPr/>
      </dsp:nvSpPr>
      <dsp:spPr>
        <a:xfrm>
          <a:off x="3561747" y="11190"/>
          <a:ext cx="2257738" cy="2051653"/>
        </a:xfrm>
        <a:prstGeom prst="ellipse">
          <a:avLst/>
        </a:prstGeom>
        <a:solidFill>
          <a:srgbClr val="92D05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0" u="sng" kern="1200" dirty="0" err="1">
              <a:solidFill>
                <a:schemeClr val="tx1"/>
              </a:solidFill>
            </a:rPr>
            <a:t>Decentralised</a:t>
          </a:r>
          <a:r>
            <a:rPr lang="en-US" sz="1300" b="0" u="sng" kern="1200" dirty="0">
              <a:solidFill>
                <a:schemeClr val="tx1"/>
              </a:solidFill>
            </a:rPr>
            <a:t> Control</a:t>
          </a:r>
        </a:p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br>
            <a:rPr lang="en-US" sz="1300" kern="1200" dirty="0">
              <a:solidFill>
                <a:schemeClr val="tx1"/>
              </a:solidFill>
            </a:rPr>
          </a:br>
          <a:r>
            <a:rPr lang="en-US" sz="1300" kern="1200" dirty="0">
              <a:solidFill>
                <a:schemeClr val="tx1"/>
              </a:solidFill>
            </a:rPr>
            <a:t>Donors involved have more Control and Decision making power on their part. </a:t>
          </a:r>
        </a:p>
      </dsp:txBody>
      <dsp:txXfrm>
        <a:off x="3892385" y="311648"/>
        <a:ext cx="1596462" cy="1450737"/>
      </dsp:txXfrm>
    </dsp:sp>
    <dsp:sp modelId="{B9FB1FA6-2931-467C-8929-2C9F12818C63}">
      <dsp:nvSpPr>
        <dsp:cNvPr id="0" name=""/>
        <dsp:cNvSpPr/>
      </dsp:nvSpPr>
      <dsp:spPr>
        <a:xfrm>
          <a:off x="5940150" y="2104349"/>
          <a:ext cx="2179337" cy="2086422"/>
        </a:xfrm>
        <a:prstGeom prst="ellipse">
          <a:avLst/>
        </a:prstGeom>
        <a:solidFill>
          <a:srgbClr val="92D05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u="sng" kern="1200" dirty="0">
              <a:solidFill>
                <a:schemeClr val="tx1"/>
              </a:solidFill>
            </a:rPr>
            <a:t>Transparency</a:t>
          </a:r>
        </a:p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>
              <a:solidFill>
                <a:schemeClr val="tx1"/>
              </a:solidFill>
            </a:rPr>
            <a:t> Showcasing history of transactions by Campaigns to Third party vendors</a:t>
          </a:r>
        </a:p>
      </dsp:txBody>
      <dsp:txXfrm>
        <a:off x="6259307" y="2409898"/>
        <a:ext cx="1541023" cy="1475324"/>
      </dsp:txXfrm>
    </dsp:sp>
    <dsp:sp modelId="{DF5CB101-B85E-49A9-9419-745746E08CD6}">
      <dsp:nvSpPr>
        <dsp:cNvPr id="0" name=""/>
        <dsp:cNvSpPr/>
      </dsp:nvSpPr>
      <dsp:spPr>
        <a:xfrm>
          <a:off x="3628523" y="4324102"/>
          <a:ext cx="2124187" cy="1907819"/>
        </a:xfrm>
        <a:prstGeom prst="ellipse">
          <a:avLst/>
        </a:prstGeom>
        <a:solidFill>
          <a:srgbClr val="92D05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u="sng" kern="1200" dirty="0">
              <a:solidFill>
                <a:schemeClr val="tx1"/>
              </a:solidFill>
            </a:rPr>
            <a:t>Security</a:t>
          </a:r>
        </a:p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>
              <a:solidFill>
                <a:schemeClr val="tx1"/>
              </a:solidFill>
            </a:rPr>
            <a:t> Ether transactions are cryptographically secured</a:t>
          </a:r>
        </a:p>
      </dsp:txBody>
      <dsp:txXfrm>
        <a:off x="3939603" y="4603496"/>
        <a:ext cx="1502027" cy="1349031"/>
      </dsp:txXfrm>
    </dsp:sp>
    <dsp:sp modelId="{E80F6D6F-EE7C-499F-89ED-E037BF89AC63}">
      <dsp:nvSpPr>
        <dsp:cNvPr id="0" name=""/>
        <dsp:cNvSpPr/>
      </dsp:nvSpPr>
      <dsp:spPr>
        <a:xfrm>
          <a:off x="1291213" y="2127339"/>
          <a:ext cx="2120405" cy="2040444"/>
        </a:xfrm>
        <a:prstGeom prst="ellipse">
          <a:avLst/>
        </a:prstGeom>
        <a:solidFill>
          <a:srgbClr val="92D05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u="sng" kern="1200" dirty="0">
              <a:solidFill>
                <a:schemeClr val="tx1"/>
              </a:solidFill>
            </a:rPr>
            <a:t>Accountability</a:t>
          </a:r>
        </a:p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>
              <a:solidFill>
                <a:schemeClr val="tx1"/>
              </a:solidFill>
            </a:rPr>
            <a:t> Charities will have to justify their financial decisions to the donors by creating Spending Requests.</a:t>
          </a:r>
        </a:p>
      </dsp:txBody>
      <dsp:txXfrm>
        <a:off x="1601739" y="2426155"/>
        <a:ext cx="1499353" cy="144281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1329C4C-3327-4218-A516-8EF5C3113294}" type="datetimeFigureOut">
              <a:rPr lang="en-US" smtClean="0"/>
              <a:t>2/3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DE0D4B6-14DC-4C09-B127-09FC5221C1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8022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928111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669138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3791507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419436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.xml"/><Relationship Id="rId4" Type="http://schemas.openxmlformats.org/officeDocument/2006/relationships/image" Target="../media/image3.emf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.xml"/><Relationship Id="rId4" Type="http://schemas.openxmlformats.org/officeDocument/2006/relationships/image" Target="../media/image3.emf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5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5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4.xml"/><Relationship Id="rId4" Type="http://schemas.openxmlformats.org/officeDocument/2006/relationships/image" Target="../media/image3.emf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5.xml"/><Relationship Id="rId4" Type="http://schemas.openxmlformats.org/officeDocument/2006/relationships/image" Target="../media/image3.emf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6.xml"/><Relationship Id="rId4" Type="http://schemas.openxmlformats.org/officeDocument/2006/relationships/image" Target="../media/image3.emf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6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6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8.xml"/><Relationship Id="rId4" Type="http://schemas.openxmlformats.org/officeDocument/2006/relationships/image" Target="../media/image3.emf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9.xml"/><Relationship Id="rId4" Type="http://schemas.openxmlformats.org/officeDocument/2006/relationships/image" Target="../media/image3.emf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0.xml"/><Relationship Id="rId4" Type="http://schemas.openxmlformats.org/officeDocument/2006/relationships/image" Target="../media/image3.emf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7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7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2.xml"/><Relationship Id="rId4" Type="http://schemas.openxmlformats.org/officeDocument/2006/relationships/image" Target="../media/image3.emf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3.xml"/><Relationship Id="rId4" Type="http://schemas.openxmlformats.org/officeDocument/2006/relationships/image" Target="../media/image3.emf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4.xml"/><Relationship Id="rId4" Type="http://schemas.openxmlformats.org/officeDocument/2006/relationships/image" Target="../media/image3.emf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8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8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26.xml"/><Relationship Id="rId4" Type="http://schemas.openxmlformats.org/officeDocument/2006/relationships/image" Target="../media/image3.emf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27.xml"/><Relationship Id="rId4" Type="http://schemas.openxmlformats.org/officeDocument/2006/relationships/image" Target="../media/image3.emf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28.xml"/><Relationship Id="rId4" Type="http://schemas.openxmlformats.org/officeDocument/2006/relationships/image" Target="../media/image3.emf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4" Type="http://schemas.openxmlformats.org/officeDocument/2006/relationships/image" Target="../media/image3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4" Type="http://schemas.openxmlformats.org/officeDocument/2006/relationships/image" Target="../media/image3.emf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.xml"/><Relationship Id="rId4" Type="http://schemas.openxmlformats.org/officeDocument/2006/relationships/image" Target="../media/image3.emf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.xml"/><Relationship Id="rId4" Type="http://schemas.openxmlformats.org/officeDocument/2006/relationships/image" Target="../media/image3.emf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07F954-CEF2-4DDC-BC81-4D70CA18237A}" type="datetimeFigureOut">
              <a:rPr lang="en-US" smtClean="0"/>
              <a:t>2/3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A64D54-1854-4A5A-ACAB-732A71048CD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2337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07F954-CEF2-4DDC-BC81-4D70CA18237A}" type="datetimeFigureOut">
              <a:rPr lang="en-US" smtClean="0"/>
              <a:t>2/3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A64D54-1854-4A5A-ACAB-732A71048CD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162048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159000" y="1530000"/>
            <a:ext cx="2835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2850"/>
              </a:lnSpc>
              <a:defRPr sz="24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56495" y="5845181"/>
            <a:ext cx="419576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56494" y="6362700"/>
            <a:ext cx="4195762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788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356494" y="457200"/>
            <a:ext cx="14985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4719941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52425" y="1700214"/>
            <a:ext cx="7813675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3423545"/>
            <a:ext cx="7813676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827202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352425" y="1705669"/>
            <a:ext cx="7813675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3429000"/>
            <a:ext cx="781367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661765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52425" y="1705669"/>
            <a:ext cx="7813675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3429000"/>
            <a:ext cx="781367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8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906771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352425" y="1705669"/>
            <a:ext cx="7813675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3429000"/>
            <a:ext cx="781367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805735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352425" y="1705669"/>
            <a:ext cx="7813675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3429000"/>
            <a:ext cx="781367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22970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52426" y="1705669"/>
            <a:ext cx="7813675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tx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6318763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0363" y="1590676"/>
            <a:ext cx="6772203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1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9060743"/>
      </p:ext>
    </p:extLst>
  </p:cSld>
  <p:clrMapOvr>
    <a:masterClrMapping/>
  </p:clrMapOvr>
  <p:transition>
    <p:fade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0363" y="1590676"/>
            <a:ext cx="6772203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1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15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6105346"/>
      </p:ext>
    </p:extLst>
  </p:cSld>
  <p:clrMapOvr>
    <a:masterClrMapping/>
  </p:clrMapOvr>
  <p:transition>
    <p:fade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0363" y="1590676"/>
            <a:ext cx="6772203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1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8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19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1225551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2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07F954-CEF2-4DDC-BC81-4D70CA18237A}" type="datetimeFigureOut">
              <a:rPr lang="en-US" smtClean="0"/>
              <a:t>2/3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A64D54-1854-4A5A-ACAB-732A71048CD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2901606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0363" y="1590676"/>
            <a:ext cx="6772203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1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15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5985577"/>
      </p:ext>
    </p:extLst>
  </p:cSld>
  <p:clrMapOvr>
    <a:masterClrMapping/>
  </p:clrMapOvr>
  <p:transition>
    <p:fade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52425" y="1590676"/>
            <a:ext cx="6772203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100">
                <a:solidFill>
                  <a:schemeClr val="tx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627948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52426" y="1665291"/>
            <a:ext cx="7011590" cy="4633910"/>
          </a:xfrm>
          <a:prstGeom prst="rect">
            <a:avLst/>
          </a:prstGeom>
        </p:spPr>
        <p:txBody>
          <a:bodyPr/>
          <a:lstStyle>
            <a:lvl1pPr>
              <a:tabLst>
                <a:tab pos="6729245" algn="r"/>
              </a:tabLst>
              <a:defRPr/>
            </a:lvl1pPr>
            <a:lvl2pPr>
              <a:tabLst>
                <a:tab pos="6729245" algn="r"/>
              </a:tabLst>
              <a:defRPr/>
            </a:lvl2pPr>
            <a:lvl3pPr>
              <a:tabLst>
                <a:tab pos="6729245" algn="r"/>
              </a:tabLst>
              <a:defRPr/>
            </a:lvl3pPr>
            <a:lvl4pPr>
              <a:tabLst>
                <a:tab pos="6729245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  <a:lvl6pPr>
              <a:tabLst>
                <a:tab pos="6729245" algn="r"/>
              </a:tabLst>
              <a:defRPr/>
            </a:lvl6pPr>
            <a:lvl7pPr>
              <a:tabLst>
                <a:tab pos="6729245" algn="r"/>
              </a:tabLst>
              <a:defRPr/>
            </a:lvl7pPr>
            <a:lvl8pPr>
              <a:tabLst>
                <a:tab pos="6729245" algn="r"/>
              </a:tabLst>
              <a:defRPr/>
            </a:lvl8pPr>
            <a:lvl9pPr>
              <a:tabLst>
                <a:tab pos="6729245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10322475"/>
      </p:ext>
    </p:extLst>
  </p:cSld>
  <p:clrMapOvr>
    <a:masterClrMapping/>
  </p:clrMapOvr>
  <p:transition>
    <p:fade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4203651" y="1700213"/>
            <a:ext cx="4587925" cy="4598988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352426" y="1665290"/>
            <a:ext cx="3250247" cy="4633911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50753948"/>
      </p:ext>
    </p:extLst>
  </p:cSld>
  <p:clrMapOvr>
    <a:masterClrMapping/>
  </p:clrMapOvr>
  <p:transition>
    <p:fade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352425" y="1665290"/>
            <a:ext cx="843915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54178140"/>
      </p:ext>
    </p:extLst>
  </p:cSld>
  <p:clrMapOvr>
    <a:masterClrMapping/>
  </p:clrMapOvr>
  <p:transition>
    <p:fade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477558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 b="1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52425" y="1665818"/>
            <a:ext cx="843915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95250" indent="-9525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09550" indent="-9525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323850" indent="-9525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438150" indent="-9525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46389651"/>
      </p:ext>
    </p:extLst>
  </p:cSld>
  <p:clrMapOvr>
    <a:masterClrMapping/>
  </p:clrMapOvr>
  <p:transition>
    <p:fade/>
  </p:transition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0916529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52425" y="1676403"/>
            <a:ext cx="843915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 b="1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28930328"/>
      </p:ext>
    </p:extLst>
  </p:cSld>
  <p:clrMapOvr>
    <a:masterClrMapping/>
  </p:clrMapOvr>
  <p:transition>
    <p:fade/>
  </p:transition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51000" y="2054582"/>
            <a:ext cx="843915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51000" y="1659816"/>
            <a:ext cx="8439150" cy="3571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83157522"/>
      </p:ext>
    </p:extLst>
  </p:cSld>
  <p:clrMapOvr>
    <a:masterClrMapping/>
  </p:clrMapOvr>
  <p:transition>
    <p:fade/>
  </p:transition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51000" y="2052000"/>
            <a:ext cx="27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51000" y="1665289"/>
            <a:ext cx="27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3222000" y="2051999"/>
            <a:ext cx="27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3222002" y="1665288"/>
            <a:ext cx="27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6065220" y="2052000"/>
            <a:ext cx="27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065219" y="1659145"/>
            <a:ext cx="2700000" cy="398256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51968001"/>
      </p:ext>
    </p:extLst>
  </p:cSld>
  <p:clrMapOvr>
    <a:masterClrMapping/>
  </p:clrMapOvr>
  <p:transition>
    <p:fade/>
  </p:transition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351000" y="1665289"/>
            <a:ext cx="3996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4795575" y="1656001"/>
            <a:ext cx="3996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8669002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591338" y="1626100"/>
            <a:ext cx="3200237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 sz="1800">
                <a:solidFill>
                  <a:schemeClr val="accent3"/>
                </a:solidFill>
              </a:defRPr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352425" y="1665288"/>
            <a:ext cx="4995650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20986178"/>
      </p:ext>
    </p:extLst>
  </p:cSld>
  <p:clrMapOvr>
    <a:masterClrMapping/>
  </p:clrMapOvr>
  <p:transition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352425" y="1665289"/>
            <a:ext cx="3323893" cy="4633913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111575" y="1700214"/>
            <a:ext cx="468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63894006"/>
      </p:ext>
    </p:extLst>
  </p:cSld>
  <p:clrMapOvr>
    <a:masterClrMapping/>
  </p:clrMapOvr>
  <p:transition>
    <p:fade/>
  </p:transition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352425" y="1665288"/>
            <a:ext cx="3996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 sz="1200"/>
            </a:lvl1pPr>
            <a:lvl2pPr>
              <a:tabLst>
                <a:tab pos="5029074" algn="r"/>
              </a:tabLst>
              <a:defRPr sz="1200"/>
            </a:lvl2pPr>
            <a:lvl3pPr>
              <a:tabLst>
                <a:tab pos="5029074" algn="r"/>
              </a:tabLst>
              <a:defRPr sz="1200"/>
            </a:lvl3pPr>
            <a:lvl4pPr>
              <a:tabLst>
                <a:tab pos="5029074" algn="r"/>
              </a:tabLst>
              <a:defRPr sz="1200"/>
            </a:lvl4pPr>
            <a:lvl5pPr>
              <a:tabLst>
                <a:tab pos="5029074" algn="r"/>
              </a:tabLst>
              <a:defRPr sz="75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4795575" y="1665288"/>
            <a:ext cx="3996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 sz="1200"/>
            </a:lvl1pPr>
            <a:lvl2pPr>
              <a:tabLst>
                <a:tab pos="5029074" algn="r"/>
              </a:tabLst>
              <a:defRPr sz="1200"/>
            </a:lvl2pPr>
            <a:lvl3pPr>
              <a:tabLst>
                <a:tab pos="5029074" algn="r"/>
              </a:tabLst>
              <a:defRPr sz="1200"/>
            </a:lvl3pPr>
            <a:lvl4pPr>
              <a:tabLst>
                <a:tab pos="5029074" algn="r"/>
              </a:tabLst>
              <a:defRPr sz="1200"/>
            </a:lvl4pPr>
            <a:lvl5pPr>
              <a:tabLst>
                <a:tab pos="5029074" algn="r"/>
              </a:tabLst>
              <a:defRPr sz="75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16523629"/>
      </p:ext>
    </p:extLst>
  </p:cSld>
  <p:clrMapOvr>
    <a:masterClrMapping/>
  </p:clrMapOvr>
  <p:transition>
    <p:fade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352425" y="1665288"/>
            <a:ext cx="41103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679688" y="2125014"/>
            <a:ext cx="4111887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679688" y="1655764"/>
            <a:ext cx="4111887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06184735"/>
      </p:ext>
    </p:extLst>
  </p:cSld>
  <p:clrMapOvr>
    <a:masterClrMapping/>
  </p:clrMapOvr>
  <p:transition>
    <p:fade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679688" y="2125014"/>
            <a:ext cx="4111887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679689" y="1654029"/>
            <a:ext cx="4111887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352425" y="2125014"/>
            <a:ext cx="4111888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352424" y="1665289"/>
            <a:ext cx="4111888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08595569"/>
      </p:ext>
    </p:extLst>
  </p:cSld>
  <p:clrMapOvr>
    <a:masterClrMapping/>
  </p:clrMapOvr>
  <p:transition>
    <p:fade/>
  </p:transition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591338" y="1626100"/>
            <a:ext cx="3200237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 sz="1800">
                <a:solidFill>
                  <a:schemeClr val="accent3"/>
                </a:solidFill>
              </a:defRPr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352425" y="1665288"/>
            <a:ext cx="4995650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18536537"/>
      </p:ext>
    </p:extLst>
  </p:cSld>
  <p:clrMapOvr>
    <a:masterClrMapping/>
  </p:clrMapOvr>
  <p:transition>
    <p:fade/>
  </p:transition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366557" y="1700213"/>
            <a:ext cx="1998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2505780" y="1700212"/>
            <a:ext cx="1998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4645004" y="1700212"/>
            <a:ext cx="1998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6784227" y="1700212"/>
            <a:ext cx="1998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61772" y="3076573"/>
            <a:ext cx="198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0"/>
              </a:spcAft>
              <a:defRPr/>
            </a:lvl7pPr>
            <a:lvl8pPr marL="356391" indent="-176396">
              <a:spcAft>
                <a:spcPts val="0"/>
              </a:spcAft>
              <a:defRPr/>
            </a:lvl8pPr>
            <a:lvl9pPr marL="356391" indent="-176396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55408" y="3079742"/>
            <a:ext cx="198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0"/>
              </a:spcAft>
              <a:defRPr/>
            </a:lvl7pPr>
            <a:lvl8pPr marL="356391" indent="-176396">
              <a:spcAft>
                <a:spcPts val="0"/>
              </a:spcAft>
              <a:defRPr/>
            </a:lvl8pPr>
            <a:lvl9pPr marL="356391" indent="-176396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08590" y="3076573"/>
            <a:ext cx="198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0"/>
              </a:spcAft>
              <a:defRPr/>
            </a:lvl7pPr>
            <a:lvl8pPr marL="356391" indent="-176396">
              <a:spcAft>
                <a:spcPts val="0"/>
              </a:spcAft>
              <a:defRPr/>
            </a:lvl8pPr>
            <a:lvl9pPr marL="356391" indent="-176396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802227" y="3079742"/>
            <a:ext cx="198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0"/>
              </a:spcAft>
              <a:defRPr/>
            </a:lvl7pPr>
            <a:lvl8pPr marL="356391" indent="-176396">
              <a:spcAft>
                <a:spcPts val="0"/>
              </a:spcAft>
              <a:defRPr/>
            </a:lvl8pPr>
            <a:lvl9pPr marL="356391" indent="-176396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20783136"/>
      </p:ext>
    </p:extLst>
  </p:cSld>
  <p:clrMapOvr>
    <a:masterClrMapping/>
  </p:clrMapOvr>
  <p:transition>
    <p:fade/>
  </p:transition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357585" y="1703863"/>
            <a:ext cx="41526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38675" y="1703863"/>
            <a:ext cx="41526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352425" y="4065173"/>
            <a:ext cx="41526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4638675" y="4065173"/>
            <a:ext cx="41526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357585" y="1880213"/>
            <a:ext cx="15876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653073" y="1880212"/>
            <a:ext cx="15876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361334" y="4256211"/>
            <a:ext cx="15876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4653073" y="4256211"/>
            <a:ext cx="15876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130585" y="1880213"/>
            <a:ext cx="23796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6413007" y="1880213"/>
            <a:ext cx="2378268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101913" y="4256213"/>
            <a:ext cx="23796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6411675" y="4256212"/>
            <a:ext cx="23796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13637011"/>
      </p:ext>
    </p:extLst>
  </p:cSld>
  <p:clrMapOvr>
    <a:masterClrMapping/>
  </p:clrMapOvr>
  <p:transition>
    <p:fade/>
  </p:transition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358957" y="1700213"/>
            <a:ext cx="2729484" cy="2052830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6062088" y="1700214"/>
            <a:ext cx="2729487" cy="2059099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3213141" y="1700213"/>
            <a:ext cx="2727722" cy="2057767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358957" y="3832225"/>
            <a:ext cx="2729484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3208735" y="3832224"/>
            <a:ext cx="272772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6062088" y="3832225"/>
            <a:ext cx="2729487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03197116"/>
      </p:ext>
    </p:extLst>
  </p:cSld>
  <p:clrMapOvr>
    <a:masterClrMapping/>
  </p:clrMapOvr>
  <p:transition>
    <p:fade/>
  </p:transition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32696642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57993811"/>
      </p:ext>
    </p:extLst>
  </p:cSld>
  <p:clrMapOvr>
    <a:masterClrMapping/>
  </p:clrMapOvr>
  <p:transition>
    <p:fade/>
  </p:transition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52424" y="1857893"/>
            <a:ext cx="4158000" cy="1695451"/>
          </a:xfrm>
        </p:spPr>
        <p:txBody>
          <a:bodyPr/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633097" y="1857893"/>
            <a:ext cx="4158000" cy="1695451"/>
          </a:xfrm>
        </p:spPr>
        <p:txBody>
          <a:bodyPr/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352424" y="1705379"/>
            <a:ext cx="4158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4625847" y="1705379"/>
            <a:ext cx="4158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7850727" y="1857893"/>
            <a:ext cx="933121" cy="549275"/>
          </a:xfrm>
        </p:spPr>
        <p:txBody>
          <a:bodyPr/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3551096" y="1863918"/>
            <a:ext cx="933680" cy="549275"/>
          </a:xfrm>
        </p:spPr>
        <p:txBody>
          <a:bodyPr/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517450481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56401" y="5845181"/>
            <a:ext cx="419400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350" b="1">
                <a:solidFill>
                  <a:schemeClr val="bg1"/>
                </a:solidFill>
              </a:defRPr>
            </a:lvl1pPr>
            <a:lvl2pPr marL="0" indent="0" algn="l">
              <a:buNone/>
              <a:defRPr sz="1200" b="0">
                <a:solidFill>
                  <a:schemeClr val="bg1"/>
                </a:solidFill>
              </a:defRPr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56400" y="6362700"/>
            <a:ext cx="4195762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788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352425" y="457761"/>
            <a:ext cx="14985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2545287" y="727595"/>
            <a:ext cx="405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1667326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52424" y="1857893"/>
            <a:ext cx="4158000" cy="1695451"/>
          </a:xfrm>
        </p:spPr>
        <p:txBody>
          <a:bodyPr>
            <a:noAutofit/>
          </a:bodyPr>
          <a:lstStyle>
            <a:lvl1pPr marL="0" indent="0">
              <a:spcAft>
                <a:spcPts val="1000"/>
              </a:spcAft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633097" y="1857893"/>
            <a:ext cx="4158000" cy="1695451"/>
          </a:xfrm>
        </p:spPr>
        <p:txBody>
          <a:bodyPr>
            <a:noAutofit/>
          </a:bodyPr>
          <a:lstStyle>
            <a:lvl1pPr marL="0" indent="0">
              <a:spcAft>
                <a:spcPts val="1000"/>
              </a:spcAft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352424" y="1705379"/>
            <a:ext cx="4158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25847" y="1705379"/>
            <a:ext cx="4158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7850727" y="1857893"/>
            <a:ext cx="933121" cy="549275"/>
          </a:xfrm>
        </p:spPr>
        <p:txBody>
          <a:bodyPr>
            <a:noAutofit/>
          </a:bodyPr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352424" y="4249682"/>
            <a:ext cx="4158000" cy="1695451"/>
          </a:xfrm>
        </p:spPr>
        <p:txBody>
          <a:bodyPr>
            <a:noAutofit/>
          </a:bodyPr>
          <a:lstStyle>
            <a:lvl1pPr marL="0" indent="0">
              <a:spcAft>
                <a:spcPts val="1000"/>
              </a:spcAft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4633095" y="4249682"/>
            <a:ext cx="4158000" cy="1695451"/>
          </a:xfrm>
        </p:spPr>
        <p:txBody>
          <a:bodyPr>
            <a:noAutofit/>
          </a:bodyPr>
          <a:lstStyle>
            <a:lvl1pPr marL="0" indent="0">
              <a:spcAft>
                <a:spcPts val="1000"/>
              </a:spcAft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352424" y="4103519"/>
            <a:ext cx="4158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4625847" y="4103519"/>
            <a:ext cx="4158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3525327" y="4249684"/>
            <a:ext cx="956187" cy="549275"/>
          </a:xfrm>
        </p:spPr>
        <p:txBody>
          <a:bodyPr>
            <a:noAutofit/>
          </a:bodyPr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7844277" y="4248210"/>
            <a:ext cx="933120" cy="549275"/>
          </a:xfrm>
        </p:spPr>
        <p:txBody>
          <a:bodyPr>
            <a:noAutofit/>
          </a:bodyPr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3551096" y="1863918"/>
            <a:ext cx="933680" cy="549275"/>
          </a:xfrm>
        </p:spPr>
        <p:txBody>
          <a:bodyPr>
            <a:noAutofit/>
          </a:bodyPr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13513687"/>
      </p:ext>
    </p:extLst>
  </p:cSld>
  <p:clrMapOvr>
    <a:masterClrMapping/>
  </p:clrMapOvr>
  <p:transition>
    <p:fade/>
  </p:transition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3208735" y="1705968"/>
            <a:ext cx="272772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352425" y="1705968"/>
            <a:ext cx="2720579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6078132" y="1705968"/>
            <a:ext cx="2721769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208735" y="1851441"/>
            <a:ext cx="2722626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52425" y="1851441"/>
            <a:ext cx="2720579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069807" y="1851441"/>
            <a:ext cx="2721769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81759799"/>
      </p:ext>
    </p:extLst>
  </p:cSld>
  <p:clrMapOvr>
    <a:masterClrMapping/>
  </p:clrMapOvr>
  <p:transition>
    <p:fade/>
  </p:transition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52425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847575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17475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682525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50725825"/>
      </p:ext>
    </p:extLst>
  </p:cSld>
  <p:clrMapOvr>
    <a:masterClrMapping/>
  </p:clrMapOvr>
  <p:transition>
    <p:fade/>
  </p:transition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52427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847575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17476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682525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14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8536784" y="6477002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88281797"/>
      </p:ext>
    </p:extLst>
  </p:cSld>
  <p:clrMapOvr>
    <a:masterClrMapping/>
  </p:clrMapOvr>
  <p:transition>
    <p:fade/>
  </p:transition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350837" y="1665818"/>
            <a:ext cx="4153298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29962087"/>
      </p:ext>
    </p:extLst>
  </p:cSld>
  <p:clrMapOvr>
    <a:masterClrMapping/>
  </p:clrMapOvr>
  <p:transition>
    <p:fade/>
  </p:transition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56713562"/>
      </p:ext>
    </p:extLst>
  </p:cSld>
  <p:clrMapOvr>
    <a:masterClrMapping/>
  </p:clrMapOvr>
  <p:transition>
    <p:fade/>
  </p:transition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8132164"/>
      </p:ext>
    </p:extLst>
  </p:cSld>
  <p:clrMapOvr>
    <a:masterClrMapping/>
  </p:clrMapOvr>
  <p:transition>
    <p:fade/>
  </p:transition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6136" y="140324"/>
            <a:ext cx="6343650" cy="519000"/>
          </a:xfrm>
          <a:prstGeom prst="rect">
            <a:avLst/>
          </a:prstGeom>
        </p:spPr>
        <p:txBody>
          <a:bodyPr anchor="ctr"/>
          <a:lstStyle>
            <a:lvl1pPr>
              <a:defRPr sz="21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5A54A40-03D9-4AD9-8869-0F36C010950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6135" y="957717"/>
            <a:ext cx="8809265" cy="1146854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63460500"/>
      </p:ext>
    </p:extLst>
  </p:cSld>
  <p:clrMapOvr>
    <a:masterClrMapping/>
  </p:clrMapOvr>
  <p:transition>
    <p:fade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56401" y="5845181"/>
            <a:ext cx="419400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350" b="1">
                <a:solidFill>
                  <a:schemeClr val="bg1"/>
                </a:solidFill>
              </a:defRPr>
            </a:lvl1pPr>
            <a:lvl2pPr marL="0" indent="0" algn="l">
              <a:buNone/>
              <a:defRPr sz="1200" b="0">
                <a:solidFill>
                  <a:schemeClr val="bg1"/>
                </a:solidFill>
              </a:defRPr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56400" y="6362700"/>
            <a:ext cx="4195762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788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352425" y="457761"/>
            <a:ext cx="14985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2545287" y="727595"/>
            <a:ext cx="405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23156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56495" y="5845181"/>
            <a:ext cx="419576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350" b="1">
                <a:solidFill>
                  <a:schemeClr val="tx1"/>
                </a:solidFill>
              </a:defRPr>
            </a:lvl1pPr>
            <a:lvl2pPr marL="0" indent="0" algn="l">
              <a:buNone/>
              <a:defRPr sz="1200" b="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56494" y="6362700"/>
            <a:ext cx="4195762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788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356494" y="457200"/>
            <a:ext cx="14985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</p:grp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2545287" y="727595"/>
            <a:ext cx="405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89875542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56495" y="5845181"/>
            <a:ext cx="419576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350" b="1">
                <a:solidFill>
                  <a:schemeClr val="tx1"/>
                </a:solidFill>
              </a:defRPr>
            </a:lvl1pPr>
            <a:lvl2pPr marL="0" indent="0" algn="l">
              <a:buNone/>
              <a:defRPr sz="1200" b="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56494" y="6362700"/>
            <a:ext cx="4195762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788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356494" y="457200"/>
            <a:ext cx="14985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</p:grp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2545287" y="727595"/>
            <a:ext cx="405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63668462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157612" y="1530450"/>
            <a:ext cx="2835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2850"/>
              </a:lnSpc>
              <a:defRPr sz="24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56401" y="5845181"/>
            <a:ext cx="419400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56400" y="6362700"/>
            <a:ext cx="4195762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788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352425" y="457761"/>
            <a:ext cx="14985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402672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159000" y="1530000"/>
            <a:ext cx="2835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2850"/>
              </a:lnSpc>
              <a:defRPr sz="24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56495" y="5845181"/>
            <a:ext cx="419576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56494" y="6362700"/>
            <a:ext cx="4195762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788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356494" y="457200"/>
            <a:ext cx="14985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994334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52425" y="1700214"/>
            <a:ext cx="7813675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3423545"/>
            <a:ext cx="7813676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86676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352425" y="1705669"/>
            <a:ext cx="7813675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3429000"/>
            <a:ext cx="781367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34124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52425" y="1705669"/>
            <a:ext cx="7813675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3429000"/>
            <a:ext cx="781367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8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547396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352425" y="1705669"/>
            <a:ext cx="7813675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3429000"/>
            <a:ext cx="781367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223574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352425" y="1705669"/>
            <a:ext cx="7813675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3429000"/>
            <a:ext cx="781367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518107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52426" y="1705669"/>
            <a:ext cx="7813675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tx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4681380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0363" y="1590676"/>
            <a:ext cx="6772203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1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4731364"/>
      </p:ext>
    </p:extLst>
  </p:cSld>
  <p:clrMapOvr>
    <a:masterClrMapping/>
  </p:clrMapOvr>
  <p:transition>
    <p:fade/>
  </p:transition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0363" y="1590676"/>
            <a:ext cx="6772203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1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15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049609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157612" y="1530450"/>
            <a:ext cx="2835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2850"/>
              </a:lnSpc>
              <a:defRPr sz="24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56401" y="5845181"/>
            <a:ext cx="419400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56400" y="6362700"/>
            <a:ext cx="4195762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788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352425" y="457761"/>
            <a:ext cx="14985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94776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0363" y="1590676"/>
            <a:ext cx="6772203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1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8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19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5584073"/>
      </p:ext>
    </p:extLst>
  </p:cSld>
  <p:clrMapOvr>
    <a:masterClrMapping/>
  </p:clrMapOvr>
  <p:transition>
    <p:fade/>
  </p:transition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0363" y="1590676"/>
            <a:ext cx="6772203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1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15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0748553"/>
      </p:ext>
    </p:extLst>
  </p:cSld>
  <p:clrMapOvr>
    <a:masterClrMapping/>
  </p:clrMapOvr>
  <p:transition>
    <p:fade/>
  </p:transition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52425" y="1590676"/>
            <a:ext cx="6772203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100">
                <a:solidFill>
                  <a:schemeClr val="tx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329075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52426" y="1665291"/>
            <a:ext cx="7011590" cy="4633910"/>
          </a:xfrm>
          <a:prstGeom prst="rect">
            <a:avLst/>
          </a:prstGeom>
        </p:spPr>
        <p:txBody>
          <a:bodyPr/>
          <a:lstStyle>
            <a:lvl1pPr>
              <a:tabLst>
                <a:tab pos="6729245" algn="r"/>
              </a:tabLst>
              <a:defRPr/>
            </a:lvl1pPr>
            <a:lvl2pPr>
              <a:tabLst>
                <a:tab pos="6729245" algn="r"/>
              </a:tabLst>
              <a:defRPr/>
            </a:lvl2pPr>
            <a:lvl3pPr>
              <a:tabLst>
                <a:tab pos="6729245" algn="r"/>
              </a:tabLst>
              <a:defRPr/>
            </a:lvl3pPr>
            <a:lvl4pPr>
              <a:tabLst>
                <a:tab pos="6729245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  <a:lvl6pPr>
              <a:tabLst>
                <a:tab pos="6729245" algn="r"/>
              </a:tabLst>
              <a:defRPr/>
            </a:lvl6pPr>
            <a:lvl7pPr>
              <a:tabLst>
                <a:tab pos="6729245" algn="r"/>
              </a:tabLst>
              <a:defRPr/>
            </a:lvl7pPr>
            <a:lvl8pPr>
              <a:tabLst>
                <a:tab pos="6729245" algn="r"/>
              </a:tabLst>
              <a:defRPr/>
            </a:lvl8pPr>
            <a:lvl9pPr>
              <a:tabLst>
                <a:tab pos="6729245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60168770"/>
      </p:ext>
    </p:extLst>
  </p:cSld>
  <p:clrMapOvr>
    <a:masterClrMapping/>
  </p:clrMapOvr>
  <p:transition>
    <p:fade/>
  </p:transition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4203651" y="1700213"/>
            <a:ext cx="4587925" cy="4598988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352426" y="1665290"/>
            <a:ext cx="3250247" cy="4633911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59774912"/>
      </p:ext>
    </p:extLst>
  </p:cSld>
  <p:clrMapOvr>
    <a:masterClrMapping/>
  </p:clrMapOvr>
  <p:transition>
    <p:fade/>
  </p:transition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352425" y="1665290"/>
            <a:ext cx="843915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78139575"/>
      </p:ext>
    </p:extLst>
  </p:cSld>
  <p:clrMapOvr>
    <a:masterClrMapping/>
  </p:clrMapOvr>
  <p:transition>
    <p:fade/>
  </p:transition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9373135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 b="1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52425" y="1665818"/>
            <a:ext cx="843915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95250" indent="-9525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09550" indent="-9525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323850" indent="-9525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438150" indent="-9525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54088458"/>
      </p:ext>
    </p:extLst>
  </p:cSld>
  <p:clrMapOvr>
    <a:masterClrMapping/>
  </p:clrMapOvr>
  <p:transition>
    <p:fade/>
  </p:transition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3449487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52425" y="1676403"/>
            <a:ext cx="843915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 b="1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95137294"/>
      </p:ext>
    </p:extLst>
  </p:cSld>
  <p:clrMapOvr>
    <a:masterClrMapping/>
  </p:clrMapOvr>
  <p:transition>
    <p:fade/>
  </p:transition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51000" y="2054582"/>
            <a:ext cx="843915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51000" y="1659816"/>
            <a:ext cx="8439150" cy="3571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42335410"/>
      </p:ext>
    </p:extLst>
  </p:cSld>
  <p:clrMapOvr>
    <a:masterClrMapping/>
  </p:clrMapOvr>
  <p:transition>
    <p:fade/>
  </p:transition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51000" y="2052000"/>
            <a:ext cx="27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51000" y="1665289"/>
            <a:ext cx="27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3222000" y="2051999"/>
            <a:ext cx="27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3222002" y="1665288"/>
            <a:ext cx="27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6065220" y="2052000"/>
            <a:ext cx="27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065219" y="1659145"/>
            <a:ext cx="2700000" cy="398256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55242905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159000" y="1530000"/>
            <a:ext cx="2835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2850"/>
              </a:lnSpc>
              <a:defRPr sz="24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56495" y="5845181"/>
            <a:ext cx="419576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56494" y="6362700"/>
            <a:ext cx="4195762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788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356494" y="457200"/>
            <a:ext cx="14985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6109270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351000" y="1665289"/>
            <a:ext cx="3996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4795575" y="1656001"/>
            <a:ext cx="3996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8084902"/>
      </p:ext>
    </p:extLst>
  </p:cSld>
  <p:clrMapOvr>
    <a:masterClrMapping/>
  </p:clrMapOvr>
  <p:transition>
    <p:fade/>
  </p:transition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352425" y="1665289"/>
            <a:ext cx="3323893" cy="4633913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111575" y="1700214"/>
            <a:ext cx="468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63917439"/>
      </p:ext>
    </p:extLst>
  </p:cSld>
  <p:clrMapOvr>
    <a:masterClrMapping/>
  </p:clrMapOvr>
  <p:transition>
    <p:fade/>
  </p:transition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352425" y="1665288"/>
            <a:ext cx="3996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 sz="1200"/>
            </a:lvl1pPr>
            <a:lvl2pPr>
              <a:tabLst>
                <a:tab pos="5029074" algn="r"/>
              </a:tabLst>
              <a:defRPr sz="1200"/>
            </a:lvl2pPr>
            <a:lvl3pPr>
              <a:tabLst>
                <a:tab pos="5029074" algn="r"/>
              </a:tabLst>
              <a:defRPr sz="1200"/>
            </a:lvl3pPr>
            <a:lvl4pPr>
              <a:tabLst>
                <a:tab pos="5029074" algn="r"/>
              </a:tabLst>
              <a:defRPr sz="1200"/>
            </a:lvl4pPr>
            <a:lvl5pPr>
              <a:tabLst>
                <a:tab pos="5029074" algn="r"/>
              </a:tabLst>
              <a:defRPr sz="75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4795575" y="1665288"/>
            <a:ext cx="3996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 sz="1200"/>
            </a:lvl1pPr>
            <a:lvl2pPr>
              <a:tabLst>
                <a:tab pos="5029074" algn="r"/>
              </a:tabLst>
              <a:defRPr sz="1200"/>
            </a:lvl2pPr>
            <a:lvl3pPr>
              <a:tabLst>
                <a:tab pos="5029074" algn="r"/>
              </a:tabLst>
              <a:defRPr sz="1200"/>
            </a:lvl3pPr>
            <a:lvl4pPr>
              <a:tabLst>
                <a:tab pos="5029074" algn="r"/>
              </a:tabLst>
              <a:defRPr sz="1200"/>
            </a:lvl4pPr>
            <a:lvl5pPr>
              <a:tabLst>
                <a:tab pos="5029074" algn="r"/>
              </a:tabLst>
              <a:defRPr sz="75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98894230"/>
      </p:ext>
    </p:extLst>
  </p:cSld>
  <p:clrMapOvr>
    <a:masterClrMapping/>
  </p:clrMapOvr>
  <p:transition>
    <p:fade/>
  </p:transition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352425" y="1665288"/>
            <a:ext cx="41103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679688" y="2125014"/>
            <a:ext cx="4111887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679688" y="1655764"/>
            <a:ext cx="4111887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85600281"/>
      </p:ext>
    </p:extLst>
  </p:cSld>
  <p:clrMapOvr>
    <a:masterClrMapping/>
  </p:clrMapOvr>
  <p:transition>
    <p:fade/>
  </p:transition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679688" y="2125014"/>
            <a:ext cx="4111887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679689" y="1654029"/>
            <a:ext cx="4111887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352425" y="2125014"/>
            <a:ext cx="4111888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352424" y="1665289"/>
            <a:ext cx="4111888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43396359"/>
      </p:ext>
    </p:extLst>
  </p:cSld>
  <p:clrMapOvr>
    <a:masterClrMapping/>
  </p:clrMapOvr>
  <p:transition>
    <p:fade/>
  </p:transition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591338" y="1626100"/>
            <a:ext cx="3200237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 sz="1800">
                <a:solidFill>
                  <a:schemeClr val="accent3"/>
                </a:solidFill>
              </a:defRPr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352425" y="1665288"/>
            <a:ext cx="4995650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67236790"/>
      </p:ext>
    </p:extLst>
  </p:cSld>
  <p:clrMapOvr>
    <a:masterClrMapping/>
  </p:clrMapOvr>
  <p:transition>
    <p:fade/>
  </p:transition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366557" y="1700213"/>
            <a:ext cx="1998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2505780" y="1700212"/>
            <a:ext cx="1998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4645004" y="1700212"/>
            <a:ext cx="1998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6784227" y="1700212"/>
            <a:ext cx="1998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61772" y="3076573"/>
            <a:ext cx="198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0"/>
              </a:spcAft>
              <a:defRPr/>
            </a:lvl7pPr>
            <a:lvl8pPr marL="356391" indent="-176396">
              <a:spcAft>
                <a:spcPts val="0"/>
              </a:spcAft>
              <a:defRPr/>
            </a:lvl8pPr>
            <a:lvl9pPr marL="356391" indent="-176396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55408" y="3079742"/>
            <a:ext cx="198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0"/>
              </a:spcAft>
              <a:defRPr/>
            </a:lvl7pPr>
            <a:lvl8pPr marL="356391" indent="-176396">
              <a:spcAft>
                <a:spcPts val="0"/>
              </a:spcAft>
              <a:defRPr/>
            </a:lvl8pPr>
            <a:lvl9pPr marL="356391" indent="-176396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08590" y="3076573"/>
            <a:ext cx="198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0"/>
              </a:spcAft>
              <a:defRPr/>
            </a:lvl7pPr>
            <a:lvl8pPr marL="356391" indent="-176396">
              <a:spcAft>
                <a:spcPts val="0"/>
              </a:spcAft>
              <a:defRPr/>
            </a:lvl8pPr>
            <a:lvl9pPr marL="356391" indent="-176396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802227" y="3079742"/>
            <a:ext cx="198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0"/>
              </a:spcAft>
              <a:defRPr/>
            </a:lvl7pPr>
            <a:lvl8pPr marL="356391" indent="-176396">
              <a:spcAft>
                <a:spcPts val="0"/>
              </a:spcAft>
              <a:defRPr/>
            </a:lvl8pPr>
            <a:lvl9pPr marL="356391" indent="-176396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83201399"/>
      </p:ext>
    </p:extLst>
  </p:cSld>
  <p:clrMapOvr>
    <a:masterClrMapping/>
  </p:clrMapOvr>
  <p:transition>
    <p:fade/>
  </p:transition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357585" y="1703863"/>
            <a:ext cx="41526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38675" y="1703863"/>
            <a:ext cx="41526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352425" y="4065173"/>
            <a:ext cx="41526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4638675" y="4065173"/>
            <a:ext cx="41526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357585" y="1880213"/>
            <a:ext cx="15876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653073" y="1880212"/>
            <a:ext cx="15876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361334" y="4256211"/>
            <a:ext cx="15876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4653073" y="4256211"/>
            <a:ext cx="15876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130585" y="1880213"/>
            <a:ext cx="23796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6413007" y="1880213"/>
            <a:ext cx="2378268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101913" y="4256213"/>
            <a:ext cx="23796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6411675" y="4256212"/>
            <a:ext cx="23796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62276480"/>
      </p:ext>
    </p:extLst>
  </p:cSld>
  <p:clrMapOvr>
    <a:masterClrMapping/>
  </p:clrMapOvr>
  <p:transition>
    <p:fade/>
  </p:transition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358957" y="1700213"/>
            <a:ext cx="2729484" cy="2052830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6062088" y="1700214"/>
            <a:ext cx="2729487" cy="2059099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3213141" y="1700213"/>
            <a:ext cx="2727722" cy="2057767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358957" y="3832225"/>
            <a:ext cx="2729484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3208735" y="3832224"/>
            <a:ext cx="272772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6062088" y="3832225"/>
            <a:ext cx="2729487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84877088"/>
      </p:ext>
    </p:extLst>
  </p:cSld>
  <p:clrMapOvr>
    <a:masterClrMapping/>
  </p:clrMapOvr>
  <p:transition>
    <p:fade/>
  </p:transition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1108351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30001801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52425" y="1700214"/>
            <a:ext cx="7813675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3423545"/>
            <a:ext cx="7813676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Copyright © 2020 Deloitte Development LLC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106051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52424" y="1857893"/>
            <a:ext cx="4158000" cy="1695451"/>
          </a:xfrm>
        </p:spPr>
        <p:txBody>
          <a:bodyPr/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633097" y="1857893"/>
            <a:ext cx="4158000" cy="1695451"/>
          </a:xfrm>
        </p:spPr>
        <p:txBody>
          <a:bodyPr/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352424" y="1705379"/>
            <a:ext cx="4158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4625847" y="1705379"/>
            <a:ext cx="4158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7850727" y="1857893"/>
            <a:ext cx="933121" cy="549275"/>
          </a:xfrm>
        </p:spPr>
        <p:txBody>
          <a:bodyPr/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3551096" y="1863918"/>
            <a:ext cx="933680" cy="549275"/>
          </a:xfrm>
        </p:spPr>
        <p:txBody>
          <a:bodyPr/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799716943"/>
      </p:ext>
    </p:extLst>
  </p:cSld>
  <p:clrMapOvr>
    <a:masterClrMapping/>
  </p:clrMapOvr>
  <p:transition>
    <p:fade/>
  </p:transition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52424" y="1857893"/>
            <a:ext cx="4158000" cy="1695451"/>
          </a:xfrm>
        </p:spPr>
        <p:txBody>
          <a:bodyPr>
            <a:noAutofit/>
          </a:bodyPr>
          <a:lstStyle>
            <a:lvl1pPr marL="0" indent="0">
              <a:spcAft>
                <a:spcPts val="1000"/>
              </a:spcAft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633097" y="1857893"/>
            <a:ext cx="4158000" cy="1695451"/>
          </a:xfrm>
        </p:spPr>
        <p:txBody>
          <a:bodyPr>
            <a:noAutofit/>
          </a:bodyPr>
          <a:lstStyle>
            <a:lvl1pPr marL="0" indent="0">
              <a:spcAft>
                <a:spcPts val="1000"/>
              </a:spcAft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352424" y="1705379"/>
            <a:ext cx="4158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25847" y="1705379"/>
            <a:ext cx="4158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7850727" y="1857893"/>
            <a:ext cx="933121" cy="549275"/>
          </a:xfrm>
        </p:spPr>
        <p:txBody>
          <a:bodyPr>
            <a:noAutofit/>
          </a:bodyPr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352424" y="4249682"/>
            <a:ext cx="4158000" cy="1695451"/>
          </a:xfrm>
        </p:spPr>
        <p:txBody>
          <a:bodyPr>
            <a:noAutofit/>
          </a:bodyPr>
          <a:lstStyle>
            <a:lvl1pPr marL="0" indent="0">
              <a:spcAft>
                <a:spcPts val="1000"/>
              </a:spcAft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4633095" y="4249682"/>
            <a:ext cx="4158000" cy="1695451"/>
          </a:xfrm>
        </p:spPr>
        <p:txBody>
          <a:bodyPr>
            <a:noAutofit/>
          </a:bodyPr>
          <a:lstStyle>
            <a:lvl1pPr marL="0" indent="0">
              <a:spcAft>
                <a:spcPts val="1000"/>
              </a:spcAft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352424" y="4103519"/>
            <a:ext cx="4158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4625847" y="4103519"/>
            <a:ext cx="4158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3525327" y="4249684"/>
            <a:ext cx="956187" cy="549275"/>
          </a:xfrm>
        </p:spPr>
        <p:txBody>
          <a:bodyPr>
            <a:noAutofit/>
          </a:bodyPr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7844277" y="4248210"/>
            <a:ext cx="933120" cy="549275"/>
          </a:xfrm>
        </p:spPr>
        <p:txBody>
          <a:bodyPr>
            <a:noAutofit/>
          </a:bodyPr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3551096" y="1863918"/>
            <a:ext cx="933680" cy="549275"/>
          </a:xfrm>
        </p:spPr>
        <p:txBody>
          <a:bodyPr>
            <a:noAutofit/>
          </a:bodyPr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69952514"/>
      </p:ext>
    </p:extLst>
  </p:cSld>
  <p:clrMapOvr>
    <a:masterClrMapping/>
  </p:clrMapOvr>
  <p:transition>
    <p:fade/>
  </p:transition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3208735" y="1705968"/>
            <a:ext cx="272772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352425" y="1705968"/>
            <a:ext cx="2720579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6078132" y="1705968"/>
            <a:ext cx="2721769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208735" y="1851441"/>
            <a:ext cx="2722626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52425" y="1851441"/>
            <a:ext cx="2720579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069807" y="1851441"/>
            <a:ext cx="2721769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39870739"/>
      </p:ext>
    </p:extLst>
  </p:cSld>
  <p:clrMapOvr>
    <a:masterClrMapping/>
  </p:clrMapOvr>
  <p:transition>
    <p:fade/>
  </p:transition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52425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847575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17475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682525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62959307"/>
      </p:ext>
    </p:extLst>
  </p:cSld>
  <p:clrMapOvr>
    <a:masterClrMapping/>
  </p:clrMapOvr>
  <p:transition>
    <p:fade/>
  </p:transition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52427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847575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17476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682525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14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8536784" y="6477002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0625324"/>
      </p:ext>
    </p:extLst>
  </p:cSld>
  <p:clrMapOvr>
    <a:masterClrMapping/>
  </p:clrMapOvr>
  <p:transition>
    <p:fade/>
  </p:transition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350837" y="1665818"/>
            <a:ext cx="4153298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08865642"/>
      </p:ext>
    </p:extLst>
  </p:cSld>
  <p:clrMapOvr>
    <a:masterClrMapping/>
  </p:clrMapOvr>
  <p:transition>
    <p:fade/>
  </p:transition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31041109"/>
      </p:ext>
    </p:extLst>
  </p:cSld>
  <p:clrMapOvr>
    <a:masterClrMapping/>
  </p:clrMapOvr>
  <p:transition>
    <p:fade/>
  </p:transition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82532126"/>
      </p:ext>
    </p:extLst>
  </p:cSld>
  <p:clrMapOvr>
    <a:masterClrMapping/>
  </p:clrMapOvr>
  <p:transition>
    <p:fade/>
  </p:transition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6136" y="140324"/>
            <a:ext cx="6343650" cy="519000"/>
          </a:xfrm>
          <a:prstGeom prst="rect">
            <a:avLst/>
          </a:prstGeom>
        </p:spPr>
        <p:txBody>
          <a:bodyPr anchor="ctr"/>
          <a:lstStyle>
            <a:lvl1pPr>
              <a:defRPr sz="21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5A54A40-03D9-4AD9-8869-0F36C010950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6135" y="957717"/>
            <a:ext cx="8809265" cy="1146854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67248838"/>
      </p:ext>
    </p:extLst>
  </p:cSld>
  <p:clrMapOvr>
    <a:masterClrMapping/>
  </p:clrMapOvr>
  <p:transition>
    <p:fade/>
  </p:transition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56401" y="5845181"/>
            <a:ext cx="419400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350" b="1">
                <a:solidFill>
                  <a:schemeClr val="bg1"/>
                </a:solidFill>
              </a:defRPr>
            </a:lvl1pPr>
            <a:lvl2pPr marL="0" indent="0" algn="l">
              <a:buNone/>
              <a:defRPr sz="1200" b="0">
                <a:solidFill>
                  <a:schemeClr val="bg1"/>
                </a:solidFill>
              </a:defRPr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56400" y="6362700"/>
            <a:ext cx="4195762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788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352425" y="457761"/>
            <a:ext cx="14985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2545287" y="727595"/>
            <a:ext cx="405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9688986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352425" y="1705669"/>
            <a:ext cx="7813675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3429000"/>
            <a:ext cx="781367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Copyright © 2020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873196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56495" y="5845181"/>
            <a:ext cx="419576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350" b="1">
                <a:solidFill>
                  <a:schemeClr val="tx1"/>
                </a:solidFill>
              </a:defRPr>
            </a:lvl1pPr>
            <a:lvl2pPr marL="0" indent="0" algn="l">
              <a:buNone/>
              <a:defRPr sz="1200" b="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56494" y="6362700"/>
            <a:ext cx="4195762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788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356494" y="457200"/>
            <a:ext cx="14985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</p:grp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2545287" y="727595"/>
            <a:ext cx="405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91851992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157612" y="1530450"/>
            <a:ext cx="2835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2850"/>
              </a:lnSpc>
              <a:defRPr sz="24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56401" y="5845181"/>
            <a:ext cx="419400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56400" y="6362700"/>
            <a:ext cx="4195762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788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352425" y="457761"/>
            <a:ext cx="14985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8042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159000" y="1530000"/>
            <a:ext cx="2835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2850"/>
              </a:lnSpc>
              <a:defRPr sz="24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56495" y="5845181"/>
            <a:ext cx="419576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56494" y="6362700"/>
            <a:ext cx="4195762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788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356494" y="457200"/>
            <a:ext cx="14985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0219161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52425" y="1700214"/>
            <a:ext cx="7813675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3423545"/>
            <a:ext cx="7813676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526148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352425" y="1705669"/>
            <a:ext cx="7813675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3429000"/>
            <a:ext cx="781367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346903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52425" y="1705669"/>
            <a:ext cx="7813675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3429000"/>
            <a:ext cx="781367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8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493933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352425" y="1705669"/>
            <a:ext cx="7813675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3429000"/>
            <a:ext cx="781367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943653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352425" y="1705669"/>
            <a:ext cx="7813675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3429000"/>
            <a:ext cx="781367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803006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52426" y="1705669"/>
            <a:ext cx="7813675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tx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9260759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0363" y="1590676"/>
            <a:ext cx="6772203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1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3786093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52425" y="1705669"/>
            <a:ext cx="7813675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3429000"/>
            <a:ext cx="781367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8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Copyright © 2020 Deloitte Development LLC. All rights reserved.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200252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0363" y="1590676"/>
            <a:ext cx="6772203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1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15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2785569"/>
      </p:ext>
    </p:extLst>
  </p:cSld>
  <p:clrMapOvr>
    <a:masterClrMapping/>
  </p:clrMapOvr>
  <p:transition>
    <p:fade/>
  </p:transition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0363" y="1590676"/>
            <a:ext cx="6772203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1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8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19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9696529"/>
      </p:ext>
    </p:extLst>
  </p:cSld>
  <p:clrMapOvr>
    <a:masterClrMapping/>
  </p:clrMapOvr>
  <p:transition>
    <p:fade/>
  </p:transition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0363" y="1590676"/>
            <a:ext cx="6772203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1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15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2073219"/>
      </p:ext>
    </p:extLst>
  </p:cSld>
  <p:clrMapOvr>
    <a:masterClrMapping/>
  </p:clrMapOvr>
  <p:transition>
    <p:fade/>
  </p:transition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52425" y="1590676"/>
            <a:ext cx="6772203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100">
                <a:solidFill>
                  <a:schemeClr val="tx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559324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52426" y="1665291"/>
            <a:ext cx="7011590" cy="4633910"/>
          </a:xfrm>
          <a:prstGeom prst="rect">
            <a:avLst/>
          </a:prstGeom>
        </p:spPr>
        <p:txBody>
          <a:bodyPr/>
          <a:lstStyle>
            <a:lvl1pPr>
              <a:tabLst>
                <a:tab pos="6729245" algn="r"/>
              </a:tabLst>
              <a:defRPr/>
            </a:lvl1pPr>
            <a:lvl2pPr>
              <a:tabLst>
                <a:tab pos="6729245" algn="r"/>
              </a:tabLst>
              <a:defRPr/>
            </a:lvl2pPr>
            <a:lvl3pPr>
              <a:tabLst>
                <a:tab pos="6729245" algn="r"/>
              </a:tabLst>
              <a:defRPr/>
            </a:lvl3pPr>
            <a:lvl4pPr>
              <a:tabLst>
                <a:tab pos="6729245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  <a:lvl6pPr>
              <a:tabLst>
                <a:tab pos="6729245" algn="r"/>
              </a:tabLst>
              <a:defRPr/>
            </a:lvl6pPr>
            <a:lvl7pPr>
              <a:tabLst>
                <a:tab pos="6729245" algn="r"/>
              </a:tabLst>
              <a:defRPr/>
            </a:lvl7pPr>
            <a:lvl8pPr>
              <a:tabLst>
                <a:tab pos="6729245" algn="r"/>
              </a:tabLst>
              <a:defRPr/>
            </a:lvl8pPr>
            <a:lvl9pPr>
              <a:tabLst>
                <a:tab pos="6729245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66805167"/>
      </p:ext>
    </p:extLst>
  </p:cSld>
  <p:clrMapOvr>
    <a:masterClrMapping/>
  </p:clrMapOvr>
  <p:transition>
    <p:fade/>
  </p:transition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4203651" y="1700213"/>
            <a:ext cx="4587925" cy="4598988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352426" y="1665290"/>
            <a:ext cx="3250247" cy="4633911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48584152"/>
      </p:ext>
    </p:extLst>
  </p:cSld>
  <p:clrMapOvr>
    <a:masterClrMapping/>
  </p:clrMapOvr>
  <p:transition>
    <p:fade/>
  </p:transition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352425" y="1665290"/>
            <a:ext cx="843915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7434284"/>
      </p:ext>
    </p:extLst>
  </p:cSld>
  <p:clrMapOvr>
    <a:masterClrMapping/>
  </p:clrMapOvr>
  <p:transition>
    <p:fade/>
  </p:transition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7926294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 b="1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52425" y="1665818"/>
            <a:ext cx="843915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95250" indent="-9525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09550" indent="-9525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323850" indent="-9525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438150" indent="-9525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70197184"/>
      </p:ext>
    </p:extLst>
  </p:cSld>
  <p:clrMapOvr>
    <a:masterClrMapping/>
  </p:clrMapOvr>
  <p:transition>
    <p:fade/>
  </p:transition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76362789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52425" y="1676403"/>
            <a:ext cx="843915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 b="1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88216598"/>
      </p:ext>
    </p:extLst>
  </p:cSld>
  <p:clrMapOvr>
    <a:masterClrMapping/>
  </p:clrMapOvr>
  <p:transition>
    <p:fade/>
  </p:transition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51000" y="2054582"/>
            <a:ext cx="843915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51000" y="1659816"/>
            <a:ext cx="8439150" cy="3571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89508632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07F954-CEF2-4DDC-BC81-4D70CA18237A}" type="datetimeFigureOut">
              <a:rPr lang="en-US" smtClean="0"/>
              <a:t>2/3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A64D54-1854-4A5A-ACAB-732A71048CD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596586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352425" y="1705669"/>
            <a:ext cx="7813675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3429000"/>
            <a:ext cx="781367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Copyright © 2020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941992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51000" y="2052000"/>
            <a:ext cx="27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51000" y="1665289"/>
            <a:ext cx="27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3222000" y="2051999"/>
            <a:ext cx="27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3222002" y="1665288"/>
            <a:ext cx="27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6065220" y="2052000"/>
            <a:ext cx="27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065219" y="1659145"/>
            <a:ext cx="2700000" cy="398256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07501295"/>
      </p:ext>
    </p:extLst>
  </p:cSld>
  <p:clrMapOvr>
    <a:masterClrMapping/>
  </p:clrMapOvr>
  <p:transition>
    <p:fade/>
  </p:transition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351000" y="1665289"/>
            <a:ext cx="3996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4795575" y="1656001"/>
            <a:ext cx="3996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96971747"/>
      </p:ext>
    </p:extLst>
  </p:cSld>
  <p:clrMapOvr>
    <a:masterClrMapping/>
  </p:clrMapOvr>
  <p:transition>
    <p:fade/>
  </p:transition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352425" y="1665289"/>
            <a:ext cx="3323893" cy="4633913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111575" y="1700214"/>
            <a:ext cx="468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20766470"/>
      </p:ext>
    </p:extLst>
  </p:cSld>
  <p:clrMapOvr>
    <a:masterClrMapping/>
  </p:clrMapOvr>
  <p:transition>
    <p:fade/>
  </p:transition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352425" y="1665288"/>
            <a:ext cx="3996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 sz="1200"/>
            </a:lvl1pPr>
            <a:lvl2pPr>
              <a:tabLst>
                <a:tab pos="5029074" algn="r"/>
              </a:tabLst>
              <a:defRPr sz="1200"/>
            </a:lvl2pPr>
            <a:lvl3pPr>
              <a:tabLst>
                <a:tab pos="5029074" algn="r"/>
              </a:tabLst>
              <a:defRPr sz="1200"/>
            </a:lvl3pPr>
            <a:lvl4pPr>
              <a:tabLst>
                <a:tab pos="5029074" algn="r"/>
              </a:tabLst>
              <a:defRPr sz="1200"/>
            </a:lvl4pPr>
            <a:lvl5pPr>
              <a:tabLst>
                <a:tab pos="5029074" algn="r"/>
              </a:tabLst>
              <a:defRPr sz="75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4795575" y="1665288"/>
            <a:ext cx="3996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 sz="1200"/>
            </a:lvl1pPr>
            <a:lvl2pPr>
              <a:tabLst>
                <a:tab pos="5029074" algn="r"/>
              </a:tabLst>
              <a:defRPr sz="1200"/>
            </a:lvl2pPr>
            <a:lvl3pPr>
              <a:tabLst>
                <a:tab pos="5029074" algn="r"/>
              </a:tabLst>
              <a:defRPr sz="1200"/>
            </a:lvl3pPr>
            <a:lvl4pPr>
              <a:tabLst>
                <a:tab pos="5029074" algn="r"/>
              </a:tabLst>
              <a:defRPr sz="1200"/>
            </a:lvl4pPr>
            <a:lvl5pPr>
              <a:tabLst>
                <a:tab pos="5029074" algn="r"/>
              </a:tabLst>
              <a:defRPr sz="75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37536357"/>
      </p:ext>
    </p:extLst>
  </p:cSld>
  <p:clrMapOvr>
    <a:masterClrMapping/>
  </p:clrMapOvr>
  <p:transition>
    <p:fade/>
  </p:transition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352425" y="1665288"/>
            <a:ext cx="41103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679688" y="2125014"/>
            <a:ext cx="4111887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679688" y="1655764"/>
            <a:ext cx="4111887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3264742"/>
      </p:ext>
    </p:extLst>
  </p:cSld>
  <p:clrMapOvr>
    <a:masterClrMapping/>
  </p:clrMapOvr>
  <p:transition>
    <p:fade/>
  </p:transition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679688" y="2125014"/>
            <a:ext cx="4111887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679689" y="1654029"/>
            <a:ext cx="4111887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352425" y="2125014"/>
            <a:ext cx="4111888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352424" y="1665289"/>
            <a:ext cx="4111888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02321228"/>
      </p:ext>
    </p:extLst>
  </p:cSld>
  <p:clrMapOvr>
    <a:masterClrMapping/>
  </p:clrMapOvr>
  <p:transition>
    <p:fade/>
  </p:transition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591338" y="1626100"/>
            <a:ext cx="3200237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 sz="1800">
                <a:solidFill>
                  <a:schemeClr val="accent3"/>
                </a:solidFill>
              </a:defRPr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352425" y="1665288"/>
            <a:ext cx="4995650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92762895"/>
      </p:ext>
    </p:extLst>
  </p:cSld>
  <p:clrMapOvr>
    <a:masterClrMapping/>
  </p:clrMapOvr>
  <p:transition>
    <p:fade/>
  </p:transition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366557" y="1700213"/>
            <a:ext cx="1998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2505780" y="1700212"/>
            <a:ext cx="1998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4645004" y="1700212"/>
            <a:ext cx="1998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6784227" y="1700212"/>
            <a:ext cx="1998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61772" y="3076573"/>
            <a:ext cx="198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0"/>
              </a:spcAft>
              <a:defRPr/>
            </a:lvl7pPr>
            <a:lvl8pPr marL="356391" indent="-176396">
              <a:spcAft>
                <a:spcPts val="0"/>
              </a:spcAft>
              <a:defRPr/>
            </a:lvl8pPr>
            <a:lvl9pPr marL="356391" indent="-176396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55408" y="3079742"/>
            <a:ext cx="198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0"/>
              </a:spcAft>
              <a:defRPr/>
            </a:lvl7pPr>
            <a:lvl8pPr marL="356391" indent="-176396">
              <a:spcAft>
                <a:spcPts val="0"/>
              </a:spcAft>
              <a:defRPr/>
            </a:lvl8pPr>
            <a:lvl9pPr marL="356391" indent="-176396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08590" y="3076573"/>
            <a:ext cx="198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0"/>
              </a:spcAft>
              <a:defRPr/>
            </a:lvl7pPr>
            <a:lvl8pPr marL="356391" indent="-176396">
              <a:spcAft>
                <a:spcPts val="0"/>
              </a:spcAft>
              <a:defRPr/>
            </a:lvl8pPr>
            <a:lvl9pPr marL="356391" indent="-176396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802227" y="3079742"/>
            <a:ext cx="198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0"/>
              </a:spcAft>
              <a:defRPr/>
            </a:lvl7pPr>
            <a:lvl8pPr marL="356391" indent="-176396">
              <a:spcAft>
                <a:spcPts val="0"/>
              </a:spcAft>
              <a:defRPr/>
            </a:lvl8pPr>
            <a:lvl9pPr marL="356391" indent="-176396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7279537"/>
      </p:ext>
    </p:extLst>
  </p:cSld>
  <p:clrMapOvr>
    <a:masterClrMapping/>
  </p:clrMapOvr>
  <p:transition>
    <p:fade/>
  </p:transition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357585" y="1703863"/>
            <a:ext cx="41526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38675" y="1703863"/>
            <a:ext cx="41526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352425" y="4065173"/>
            <a:ext cx="41526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4638675" y="4065173"/>
            <a:ext cx="41526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357585" y="1880213"/>
            <a:ext cx="15876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653073" y="1880212"/>
            <a:ext cx="15876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361334" y="4256211"/>
            <a:ext cx="15876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4653073" y="4256211"/>
            <a:ext cx="15876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130585" y="1880213"/>
            <a:ext cx="23796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6413007" y="1880213"/>
            <a:ext cx="2378268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101913" y="4256213"/>
            <a:ext cx="23796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6411675" y="4256212"/>
            <a:ext cx="23796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09555022"/>
      </p:ext>
    </p:extLst>
  </p:cSld>
  <p:clrMapOvr>
    <a:masterClrMapping/>
  </p:clrMapOvr>
  <p:transition>
    <p:fade/>
  </p:transition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358957" y="1700213"/>
            <a:ext cx="2729484" cy="2052830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6062088" y="1700214"/>
            <a:ext cx="2729487" cy="2059099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3213141" y="1700213"/>
            <a:ext cx="2727722" cy="2057767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358957" y="3832225"/>
            <a:ext cx="2729484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3208735" y="3832224"/>
            <a:ext cx="272772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6062088" y="3832225"/>
            <a:ext cx="2729487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8866071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352425" y="1705669"/>
            <a:ext cx="7813675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3429000"/>
            <a:ext cx="781367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Copyright © 2020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526779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62263620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28194922"/>
      </p:ext>
    </p:extLst>
  </p:cSld>
  <p:clrMapOvr>
    <a:masterClrMapping/>
  </p:clrMapOvr>
  <p:transition>
    <p:fade/>
  </p:transition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52424" y="1857893"/>
            <a:ext cx="4158000" cy="1695451"/>
          </a:xfrm>
        </p:spPr>
        <p:txBody>
          <a:bodyPr/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633097" y="1857893"/>
            <a:ext cx="4158000" cy="1695451"/>
          </a:xfrm>
        </p:spPr>
        <p:txBody>
          <a:bodyPr/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352424" y="1705379"/>
            <a:ext cx="4158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4625847" y="1705379"/>
            <a:ext cx="4158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7850727" y="1857893"/>
            <a:ext cx="933121" cy="549275"/>
          </a:xfrm>
        </p:spPr>
        <p:txBody>
          <a:bodyPr/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3551096" y="1863918"/>
            <a:ext cx="933680" cy="549275"/>
          </a:xfrm>
        </p:spPr>
        <p:txBody>
          <a:bodyPr/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10300336"/>
      </p:ext>
    </p:extLst>
  </p:cSld>
  <p:clrMapOvr>
    <a:masterClrMapping/>
  </p:clrMapOvr>
  <p:transition>
    <p:fade/>
  </p:transition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52424" y="1857893"/>
            <a:ext cx="4158000" cy="1695451"/>
          </a:xfrm>
        </p:spPr>
        <p:txBody>
          <a:bodyPr>
            <a:noAutofit/>
          </a:bodyPr>
          <a:lstStyle>
            <a:lvl1pPr marL="0" indent="0">
              <a:spcAft>
                <a:spcPts val="1000"/>
              </a:spcAft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633097" y="1857893"/>
            <a:ext cx="4158000" cy="1695451"/>
          </a:xfrm>
        </p:spPr>
        <p:txBody>
          <a:bodyPr>
            <a:noAutofit/>
          </a:bodyPr>
          <a:lstStyle>
            <a:lvl1pPr marL="0" indent="0">
              <a:spcAft>
                <a:spcPts val="1000"/>
              </a:spcAft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352424" y="1705379"/>
            <a:ext cx="4158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25847" y="1705379"/>
            <a:ext cx="4158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7850727" y="1857893"/>
            <a:ext cx="933121" cy="549275"/>
          </a:xfrm>
        </p:spPr>
        <p:txBody>
          <a:bodyPr>
            <a:noAutofit/>
          </a:bodyPr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352424" y="4249682"/>
            <a:ext cx="4158000" cy="1695451"/>
          </a:xfrm>
        </p:spPr>
        <p:txBody>
          <a:bodyPr>
            <a:noAutofit/>
          </a:bodyPr>
          <a:lstStyle>
            <a:lvl1pPr marL="0" indent="0">
              <a:spcAft>
                <a:spcPts val="1000"/>
              </a:spcAft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4633095" y="4249682"/>
            <a:ext cx="4158000" cy="1695451"/>
          </a:xfrm>
        </p:spPr>
        <p:txBody>
          <a:bodyPr>
            <a:noAutofit/>
          </a:bodyPr>
          <a:lstStyle>
            <a:lvl1pPr marL="0" indent="0">
              <a:spcAft>
                <a:spcPts val="1000"/>
              </a:spcAft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352424" y="4103519"/>
            <a:ext cx="4158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4625847" y="4103519"/>
            <a:ext cx="4158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3525327" y="4249684"/>
            <a:ext cx="956187" cy="549275"/>
          </a:xfrm>
        </p:spPr>
        <p:txBody>
          <a:bodyPr>
            <a:noAutofit/>
          </a:bodyPr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7844277" y="4248210"/>
            <a:ext cx="933120" cy="549275"/>
          </a:xfrm>
        </p:spPr>
        <p:txBody>
          <a:bodyPr>
            <a:noAutofit/>
          </a:bodyPr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3551096" y="1863918"/>
            <a:ext cx="933680" cy="549275"/>
          </a:xfrm>
        </p:spPr>
        <p:txBody>
          <a:bodyPr>
            <a:noAutofit/>
          </a:bodyPr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72263243"/>
      </p:ext>
    </p:extLst>
  </p:cSld>
  <p:clrMapOvr>
    <a:masterClrMapping/>
  </p:clrMapOvr>
  <p:transition>
    <p:fade/>
  </p:transition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3208735" y="1705968"/>
            <a:ext cx="272772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352425" y="1705968"/>
            <a:ext cx="2720579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6078132" y="1705968"/>
            <a:ext cx="2721769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208735" y="1851441"/>
            <a:ext cx="2722626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52425" y="1851441"/>
            <a:ext cx="2720579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069807" y="1851441"/>
            <a:ext cx="2721769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53266456"/>
      </p:ext>
    </p:extLst>
  </p:cSld>
  <p:clrMapOvr>
    <a:masterClrMapping/>
  </p:clrMapOvr>
  <p:transition>
    <p:fade/>
  </p:transition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52425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847575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17475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682525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11803267"/>
      </p:ext>
    </p:extLst>
  </p:cSld>
  <p:clrMapOvr>
    <a:masterClrMapping/>
  </p:clrMapOvr>
  <p:transition>
    <p:fade/>
  </p:transition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52427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847575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17476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682525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14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8536784" y="6477002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03698847"/>
      </p:ext>
    </p:extLst>
  </p:cSld>
  <p:clrMapOvr>
    <a:masterClrMapping/>
  </p:clrMapOvr>
  <p:transition>
    <p:fade/>
  </p:transition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350837" y="1665818"/>
            <a:ext cx="4153298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30560162"/>
      </p:ext>
    </p:extLst>
  </p:cSld>
  <p:clrMapOvr>
    <a:masterClrMapping/>
  </p:clrMapOvr>
  <p:transition>
    <p:fade/>
  </p:transition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35158935"/>
      </p:ext>
    </p:extLst>
  </p:cSld>
  <p:clrMapOvr>
    <a:masterClrMapping/>
  </p:clrMapOvr>
  <p:transition>
    <p:fade/>
  </p:transition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34437938"/>
      </p:ext>
    </p:extLst>
  </p:cSld>
  <p:clrMapOvr>
    <a:masterClrMapping/>
  </p:clrMapOvr>
  <p:transition>
    <p:fade/>
  </p:transition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6136" y="140324"/>
            <a:ext cx="6343650" cy="519000"/>
          </a:xfrm>
          <a:prstGeom prst="rect">
            <a:avLst/>
          </a:prstGeom>
        </p:spPr>
        <p:txBody>
          <a:bodyPr anchor="ctr"/>
          <a:lstStyle>
            <a:lvl1pPr>
              <a:defRPr sz="21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5A54A40-03D9-4AD9-8869-0F36C010950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6135" y="957717"/>
            <a:ext cx="8809265" cy="1146854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64673934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52426" y="1705669"/>
            <a:ext cx="7813675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tx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3943680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56401" y="5845181"/>
            <a:ext cx="419400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350" b="1">
                <a:solidFill>
                  <a:schemeClr val="bg1"/>
                </a:solidFill>
              </a:defRPr>
            </a:lvl1pPr>
            <a:lvl2pPr marL="0" indent="0" algn="l">
              <a:buNone/>
              <a:defRPr sz="1200" b="0">
                <a:solidFill>
                  <a:schemeClr val="bg1"/>
                </a:solidFill>
              </a:defRPr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56400" y="6362700"/>
            <a:ext cx="4195762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788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352425" y="457761"/>
            <a:ext cx="14985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2545287" y="727595"/>
            <a:ext cx="405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1958023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56495" y="5845181"/>
            <a:ext cx="419576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350" b="1">
                <a:solidFill>
                  <a:schemeClr val="tx1"/>
                </a:solidFill>
              </a:defRPr>
            </a:lvl1pPr>
            <a:lvl2pPr marL="0" indent="0" algn="l">
              <a:buNone/>
              <a:defRPr sz="1200" b="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56494" y="6362700"/>
            <a:ext cx="4195762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788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356494" y="457200"/>
            <a:ext cx="14985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</p:grp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2545287" y="727595"/>
            <a:ext cx="405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91909468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157612" y="1530450"/>
            <a:ext cx="2835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2850"/>
              </a:lnSpc>
              <a:defRPr sz="24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56401" y="5845181"/>
            <a:ext cx="419400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56400" y="6362700"/>
            <a:ext cx="4195762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788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352425" y="457761"/>
            <a:ext cx="14985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077213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159000" y="1530000"/>
            <a:ext cx="2835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2850"/>
              </a:lnSpc>
              <a:defRPr sz="24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56495" y="5845181"/>
            <a:ext cx="419576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56494" y="6362700"/>
            <a:ext cx="4195762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788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356494" y="457200"/>
            <a:ext cx="14985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3651136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52425" y="1700214"/>
            <a:ext cx="7813675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3423545"/>
            <a:ext cx="7813676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094405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352425" y="1705669"/>
            <a:ext cx="7813675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3429000"/>
            <a:ext cx="781367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470224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52425" y="1705669"/>
            <a:ext cx="7813675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3429000"/>
            <a:ext cx="781367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8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355578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352425" y="1705669"/>
            <a:ext cx="7813675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3429000"/>
            <a:ext cx="781367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870240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352425" y="1705669"/>
            <a:ext cx="7813675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3429000"/>
            <a:ext cx="781367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411599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52426" y="1705669"/>
            <a:ext cx="7813675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tx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045833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0363" y="1590676"/>
            <a:ext cx="6772203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1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Copyright © 2020 Deloitte Development LLC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4940546"/>
      </p:ext>
    </p:extLst>
  </p:cSld>
  <p:clrMapOvr>
    <a:masterClrMapping/>
  </p:clrMapOvr>
  <p:transition>
    <p:fade/>
  </p:transition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0363" y="1590676"/>
            <a:ext cx="6772203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1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9979999"/>
      </p:ext>
    </p:extLst>
  </p:cSld>
  <p:clrMapOvr>
    <a:masterClrMapping/>
  </p:clrMapOvr>
  <p:transition>
    <p:fade/>
  </p:transition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0363" y="1590676"/>
            <a:ext cx="6772203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1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15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5300067"/>
      </p:ext>
    </p:extLst>
  </p:cSld>
  <p:clrMapOvr>
    <a:masterClrMapping/>
  </p:clrMapOvr>
  <p:transition>
    <p:fade/>
  </p:transition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0363" y="1590676"/>
            <a:ext cx="6772203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1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8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19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6709669"/>
      </p:ext>
    </p:extLst>
  </p:cSld>
  <p:clrMapOvr>
    <a:masterClrMapping/>
  </p:clrMapOvr>
  <p:transition>
    <p:fade/>
  </p:transition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0363" y="1590676"/>
            <a:ext cx="6772203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1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15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1845050"/>
      </p:ext>
    </p:extLst>
  </p:cSld>
  <p:clrMapOvr>
    <a:masterClrMapping/>
  </p:clrMapOvr>
  <p:transition>
    <p:fade/>
  </p:transition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52425" y="1590676"/>
            <a:ext cx="6772203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100">
                <a:solidFill>
                  <a:schemeClr val="tx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986403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52426" y="1665291"/>
            <a:ext cx="7011590" cy="4633910"/>
          </a:xfrm>
          <a:prstGeom prst="rect">
            <a:avLst/>
          </a:prstGeom>
        </p:spPr>
        <p:txBody>
          <a:bodyPr/>
          <a:lstStyle>
            <a:lvl1pPr>
              <a:tabLst>
                <a:tab pos="6729245" algn="r"/>
              </a:tabLst>
              <a:defRPr/>
            </a:lvl1pPr>
            <a:lvl2pPr>
              <a:tabLst>
                <a:tab pos="6729245" algn="r"/>
              </a:tabLst>
              <a:defRPr/>
            </a:lvl2pPr>
            <a:lvl3pPr>
              <a:tabLst>
                <a:tab pos="6729245" algn="r"/>
              </a:tabLst>
              <a:defRPr/>
            </a:lvl3pPr>
            <a:lvl4pPr>
              <a:tabLst>
                <a:tab pos="6729245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  <a:lvl6pPr>
              <a:tabLst>
                <a:tab pos="6729245" algn="r"/>
              </a:tabLst>
              <a:defRPr/>
            </a:lvl6pPr>
            <a:lvl7pPr>
              <a:tabLst>
                <a:tab pos="6729245" algn="r"/>
              </a:tabLst>
              <a:defRPr/>
            </a:lvl7pPr>
            <a:lvl8pPr>
              <a:tabLst>
                <a:tab pos="6729245" algn="r"/>
              </a:tabLst>
              <a:defRPr/>
            </a:lvl8pPr>
            <a:lvl9pPr>
              <a:tabLst>
                <a:tab pos="6729245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79391116"/>
      </p:ext>
    </p:extLst>
  </p:cSld>
  <p:clrMapOvr>
    <a:masterClrMapping/>
  </p:clrMapOvr>
  <p:transition>
    <p:fade/>
  </p:transition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4203651" y="1700213"/>
            <a:ext cx="4587925" cy="4598988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352426" y="1665290"/>
            <a:ext cx="3250247" cy="4633911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07548255"/>
      </p:ext>
    </p:extLst>
  </p:cSld>
  <p:clrMapOvr>
    <a:masterClrMapping/>
  </p:clrMapOvr>
  <p:transition>
    <p:fade/>
  </p:transition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352425" y="1665290"/>
            <a:ext cx="843915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30385415"/>
      </p:ext>
    </p:extLst>
  </p:cSld>
  <p:clrMapOvr>
    <a:masterClrMapping/>
  </p:clrMapOvr>
  <p:transition>
    <p:fade/>
  </p:transition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9431356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 b="1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52425" y="1665818"/>
            <a:ext cx="843915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95250" indent="-9525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09550" indent="-9525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323850" indent="-9525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438150" indent="-9525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79542651"/>
      </p:ext>
    </p:extLst>
  </p:cSld>
  <p:clrMapOvr>
    <a:masterClrMapping/>
  </p:clrMapOvr>
  <p:transition>
    <p:fade/>
  </p:transition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3499839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52425" y="1676403"/>
            <a:ext cx="843915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 b="1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1049595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0363" y="1590676"/>
            <a:ext cx="6772203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1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15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Copyright © 2020 Deloitte Development LL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9260883"/>
      </p:ext>
    </p:extLst>
  </p:cSld>
  <p:clrMapOvr>
    <a:masterClrMapping/>
  </p:clrMapOvr>
  <p:transition>
    <p:fade/>
  </p:transition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51000" y="2054582"/>
            <a:ext cx="843915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51000" y="1659816"/>
            <a:ext cx="8439150" cy="3571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70111243"/>
      </p:ext>
    </p:extLst>
  </p:cSld>
  <p:clrMapOvr>
    <a:masterClrMapping/>
  </p:clrMapOvr>
  <p:transition>
    <p:fade/>
  </p:transition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51000" y="2052000"/>
            <a:ext cx="27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51000" y="1665289"/>
            <a:ext cx="27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3222000" y="2051999"/>
            <a:ext cx="27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3222002" y="1665288"/>
            <a:ext cx="27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6065220" y="2052000"/>
            <a:ext cx="27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065219" y="1659145"/>
            <a:ext cx="2700000" cy="398256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47814716"/>
      </p:ext>
    </p:extLst>
  </p:cSld>
  <p:clrMapOvr>
    <a:masterClrMapping/>
  </p:clrMapOvr>
  <p:transition>
    <p:fade/>
  </p:transition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351000" y="1665289"/>
            <a:ext cx="3996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4795575" y="1656001"/>
            <a:ext cx="3996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94042821"/>
      </p:ext>
    </p:extLst>
  </p:cSld>
  <p:clrMapOvr>
    <a:masterClrMapping/>
  </p:clrMapOvr>
  <p:transition>
    <p:fade/>
  </p:transition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352425" y="1665289"/>
            <a:ext cx="3323893" cy="4633913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111575" y="1700214"/>
            <a:ext cx="468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57881171"/>
      </p:ext>
    </p:extLst>
  </p:cSld>
  <p:clrMapOvr>
    <a:masterClrMapping/>
  </p:clrMapOvr>
  <p:transition>
    <p:fade/>
  </p:transition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352425" y="1665288"/>
            <a:ext cx="3996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 sz="1200"/>
            </a:lvl1pPr>
            <a:lvl2pPr>
              <a:tabLst>
                <a:tab pos="5029074" algn="r"/>
              </a:tabLst>
              <a:defRPr sz="1200"/>
            </a:lvl2pPr>
            <a:lvl3pPr>
              <a:tabLst>
                <a:tab pos="5029074" algn="r"/>
              </a:tabLst>
              <a:defRPr sz="1200"/>
            </a:lvl3pPr>
            <a:lvl4pPr>
              <a:tabLst>
                <a:tab pos="5029074" algn="r"/>
              </a:tabLst>
              <a:defRPr sz="1200"/>
            </a:lvl4pPr>
            <a:lvl5pPr>
              <a:tabLst>
                <a:tab pos="5029074" algn="r"/>
              </a:tabLst>
              <a:defRPr sz="75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4795575" y="1665288"/>
            <a:ext cx="3996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 sz="1200"/>
            </a:lvl1pPr>
            <a:lvl2pPr>
              <a:tabLst>
                <a:tab pos="5029074" algn="r"/>
              </a:tabLst>
              <a:defRPr sz="1200"/>
            </a:lvl2pPr>
            <a:lvl3pPr>
              <a:tabLst>
                <a:tab pos="5029074" algn="r"/>
              </a:tabLst>
              <a:defRPr sz="1200"/>
            </a:lvl3pPr>
            <a:lvl4pPr>
              <a:tabLst>
                <a:tab pos="5029074" algn="r"/>
              </a:tabLst>
              <a:defRPr sz="1200"/>
            </a:lvl4pPr>
            <a:lvl5pPr>
              <a:tabLst>
                <a:tab pos="5029074" algn="r"/>
              </a:tabLst>
              <a:defRPr sz="75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58416428"/>
      </p:ext>
    </p:extLst>
  </p:cSld>
  <p:clrMapOvr>
    <a:masterClrMapping/>
  </p:clrMapOvr>
  <p:transition>
    <p:fade/>
  </p:transition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352425" y="1665288"/>
            <a:ext cx="41103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679688" y="2125014"/>
            <a:ext cx="4111887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679688" y="1655764"/>
            <a:ext cx="4111887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60486841"/>
      </p:ext>
    </p:extLst>
  </p:cSld>
  <p:clrMapOvr>
    <a:masterClrMapping/>
  </p:clrMapOvr>
  <p:transition>
    <p:fade/>
  </p:transition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679688" y="2125014"/>
            <a:ext cx="4111887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679689" y="1654029"/>
            <a:ext cx="4111887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352425" y="2125014"/>
            <a:ext cx="4111888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352424" y="1665289"/>
            <a:ext cx="4111888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3356537"/>
      </p:ext>
    </p:extLst>
  </p:cSld>
  <p:clrMapOvr>
    <a:masterClrMapping/>
  </p:clrMapOvr>
  <p:transition>
    <p:fade/>
  </p:transition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591338" y="1626100"/>
            <a:ext cx="3200237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 sz="1800">
                <a:solidFill>
                  <a:schemeClr val="accent3"/>
                </a:solidFill>
              </a:defRPr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352425" y="1665288"/>
            <a:ext cx="4995650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68887531"/>
      </p:ext>
    </p:extLst>
  </p:cSld>
  <p:clrMapOvr>
    <a:masterClrMapping/>
  </p:clrMapOvr>
  <p:transition>
    <p:fade/>
  </p:transition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366557" y="1700213"/>
            <a:ext cx="1998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2505780" y="1700212"/>
            <a:ext cx="1998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4645004" y="1700212"/>
            <a:ext cx="1998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6784227" y="1700212"/>
            <a:ext cx="1998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61772" y="3076573"/>
            <a:ext cx="198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0"/>
              </a:spcAft>
              <a:defRPr/>
            </a:lvl7pPr>
            <a:lvl8pPr marL="356391" indent="-176396">
              <a:spcAft>
                <a:spcPts val="0"/>
              </a:spcAft>
              <a:defRPr/>
            </a:lvl8pPr>
            <a:lvl9pPr marL="356391" indent="-176396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55408" y="3079742"/>
            <a:ext cx="198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0"/>
              </a:spcAft>
              <a:defRPr/>
            </a:lvl7pPr>
            <a:lvl8pPr marL="356391" indent="-176396">
              <a:spcAft>
                <a:spcPts val="0"/>
              </a:spcAft>
              <a:defRPr/>
            </a:lvl8pPr>
            <a:lvl9pPr marL="356391" indent="-176396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08590" y="3076573"/>
            <a:ext cx="198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0"/>
              </a:spcAft>
              <a:defRPr/>
            </a:lvl7pPr>
            <a:lvl8pPr marL="356391" indent="-176396">
              <a:spcAft>
                <a:spcPts val="0"/>
              </a:spcAft>
              <a:defRPr/>
            </a:lvl8pPr>
            <a:lvl9pPr marL="356391" indent="-176396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802227" y="3079742"/>
            <a:ext cx="198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0"/>
              </a:spcAft>
              <a:defRPr/>
            </a:lvl7pPr>
            <a:lvl8pPr marL="356391" indent="-176396">
              <a:spcAft>
                <a:spcPts val="0"/>
              </a:spcAft>
              <a:defRPr/>
            </a:lvl8pPr>
            <a:lvl9pPr marL="356391" indent="-176396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23133044"/>
      </p:ext>
    </p:extLst>
  </p:cSld>
  <p:clrMapOvr>
    <a:masterClrMapping/>
  </p:clrMapOvr>
  <p:transition>
    <p:fade/>
  </p:transition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357585" y="1703863"/>
            <a:ext cx="41526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38675" y="1703863"/>
            <a:ext cx="41526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352425" y="4065173"/>
            <a:ext cx="41526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4638675" y="4065173"/>
            <a:ext cx="41526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357585" y="1880213"/>
            <a:ext cx="15876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653073" y="1880212"/>
            <a:ext cx="15876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361334" y="4256211"/>
            <a:ext cx="15876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4653073" y="4256211"/>
            <a:ext cx="15876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130585" y="1880213"/>
            <a:ext cx="23796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6413007" y="1880213"/>
            <a:ext cx="2378268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101913" y="4256213"/>
            <a:ext cx="23796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6411675" y="4256212"/>
            <a:ext cx="23796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47747334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0363" y="1590676"/>
            <a:ext cx="6772203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1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8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19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Copyright © 2020 Deloitte Development LL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3775731"/>
      </p:ext>
    </p:extLst>
  </p:cSld>
  <p:clrMapOvr>
    <a:masterClrMapping/>
  </p:clrMapOvr>
  <p:transition>
    <p:fade/>
  </p:transition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358957" y="1700213"/>
            <a:ext cx="2729484" cy="2052830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6062088" y="1700214"/>
            <a:ext cx="2729487" cy="2059099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3213141" y="1700213"/>
            <a:ext cx="2727722" cy="2057767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358957" y="3832225"/>
            <a:ext cx="2729484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3208735" y="3832224"/>
            <a:ext cx="272772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6062088" y="3832225"/>
            <a:ext cx="2729487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86284885"/>
      </p:ext>
    </p:extLst>
  </p:cSld>
  <p:clrMapOvr>
    <a:masterClrMapping/>
  </p:clrMapOvr>
  <p:transition>
    <p:fade/>
  </p:transition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2507590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6335009"/>
      </p:ext>
    </p:extLst>
  </p:cSld>
  <p:clrMapOvr>
    <a:masterClrMapping/>
  </p:clrMapOvr>
  <p:transition>
    <p:fade/>
  </p:transition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52424" y="1857893"/>
            <a:ext cx="4158000" cy="1695451"/>
          </a:xfrm>
        </p:spPr>
        <p:txBody>
          <a:bodyPr/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633097" y="1857893"/>
            <a:ext cx="4158000" cy="1695451"/>
          </a:xfrm>
        </p:spPr>
        <p:txBody>
          <a:bodyPr/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352424" y="1705379"/>
            <a:ext cx="4158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4625847" y="1705379"/>
            <a:ext cx="4158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7850727" y="1857893"/>
            <a:ext cx="933121" cy="549275"/>
          </a:xfrm>
        </p:spPr>
        <p:txBody>
          <a:bodyPr/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3551096" y="1863918"/>
            <a:ext cx="933680" cy="549275"/>
          </a:xfrm>
        </p:spPr>
        <p:txBody>
          <a:bodyPr/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67688735"/>
      </p:ext>
    </p:extLst>
  </p:cSld>
  <p:clrMapOvr>
    <a:masterClrMapping/>
  </p:clrMapOvr>
  <p:transition>
    <p:fade/>
  </p:transition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52424" y="1857893"/>
            <a:ext cx="4158000" cy="1695451"/>
          </a:xfrm>
        </p:spPr>
        <p:txBody>
          <a:bodyPr>
            <a:noAutofit/>
          </a:bodyPr>
          <a:lstStyle>
            <a:lvl1pPr marL="0" indent="0">
              <a:spcAft>
                <a:spcPts val="1000"/>
              </a:spcAft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633097" y="1857893"/>
            <a:ext cx="4158000" cy="1695451"/>
          </a:xfrm>
        </p:spPr>
        <p:txBody>
          <a:bodyPr>
            <a:noAutofit/>
          </a:bodyPr>
          <a:lstStyle>
            <a:lvl1pPr marL="0" indent="0">
              <a:spcAft>
                <a:spcPts val="1000"/>
              </a:spcAft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352424" y="1705379"/>
            <a:ext cx="4158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25847" y="1705379"/>
            <a:ext cx="4158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7850727" y="1857893"/>
            <a:ext cx="933121" cy="549275"/>
          </a:xfrm>
        </p:spPr>
        <p:txBody>
          <a:bodyPr>
            <a:noAutofit/>
          </a:bodyPr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352424" y="4249682"/>
            <a:ext cx="4158000" cy="1695451"/>
          </a:xfrm>
        </p:spPr>
        <p:txBody>
          <a:bodyPr>
            <a:noAutofit/>
          </a:bodyPr>
          <a:lstStyle>
            <a:lvl1pPr marL="0" indent="0">
              <a:spcAft>
                <a:spcPts val="1000"/>
              </a:spcAft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4633095" y="4249682"/>
            <a:ext cx="4158000" cy="1695451"/>
          </a:xfrm>
        </p:spPr>
        <p:txBody>
          <a:bodyPr>
            <a:noAutofit/>
          </a:bodyPr>
          <a:lstStyle>
            <a:lvl1pPr marL="0" indent="0">
              <a:spcAft>
                <a:spcPts val="1000"/>
              </a:spcAft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352424" y="4103519"/>
            <a:ext cx="4158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4625847" y="4103519"/>
            <a:ext cx="4158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3525327" y="4249684"/>
            <a:ext cx="956187" cy="549275"/>
          </a:xfrm>
        </p:spPr>
        <p:txBody>
          <a:bodyPr>
            <a:noAutofit/>
          </a:bodyPr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7844277" y="4248210"/>
            <a:ext cx="933120" cy="549275"/>
          </a:xfrm>
        </p:spPr>
        <p:txBody>
          <a:bodyPr>
            <a:noAutofit/>
          </a:bodyPr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3551096" y="1863918"/>
            <a:ext cx="933680" cy="549275"/>
          </a:xfrm>
        </p:spPr>
        <p:txBody>
          <a:bodyPr>
            <a:noAutofit/>
          </a:bodyPr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19141312"/>
      </p:ext>
    </p:extLst>
  </p:cSld>
  <p:clrMapOvr>
    <a:masterClrMapping/>
  </p:clrMapOvr>
  <p:transition>
    <p:fade/>
  </p:transition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3208735" y="1705968"/>
            <a:ext cx="272772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352425" y="1705968"/>
            <a:ext cx="2720579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6078132" y="1705968"/>
            <a:ext cx="2721769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208735" y="1851441"/>
            <a:ext cx="2722626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52425" y="1851441"/>
            <a:ext cx="2720579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069807" y="1851441"/>
            <a:ext cx="2721769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43005243"/>
      </p:ext>
    </p:extLst>
  </p:cSld>
  <p:clrMapOvr>
    <a:masterClrMapping/>
  </p:clrMapOvr>
  <p:transition>
    <p:fade/>
  </p:transition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52425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847575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17475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682525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16071836"/>
      </p:ext>
    </p:extLst>
  </p:cSld>
  <p:clrMapOvr>
    <a:masterClrMapping/>
  </p:clrMapOvr>
  <p:transition>
    <p:fade/>
  </p:transition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52427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847575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17476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682525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14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8536784" y="6477002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90819725"/>
      </p:ext>
    </p:extLst>
  </p:cSld>
  <p:clrMapOvr>
    <a:masterClrMapping/>
  </p:clrMapOvr>
  <p:transition>
    <p:fade/>
  </p:transition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350837" y="1665818"/>
            <a:ext cx="4153298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93692013"/>
      </p:ext>
    </p:extLst>
  </p:cSld>
  <p:clrMapOvr>
    <a:masterClrMapping/>
  </p:clrMapOvr>
  <p:transition>
    <p:fade/>
  </p:transition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52243186"/>
      </p:ext>
    </p:extLst>
  </p:cSld>
  <p:clrMapOvr>
    <a:masterClrMapping/>
  </p:clrMapOvr>
  <p:transition>
    <p:fade/>
  </p:transition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84263155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0363" y="1590676"/>
            <a:ext cx="6772203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1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15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Copyright © 2020 Deloitte Development LL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5899965"/>
      </p:ext>
    </p:extLst>
  </p:cSld>
  <p:clrMapOvr>
    <a:masterClrMapping/>
  </p:clrMapOvr>
  <p:transition>
    <p:fade/>
  </p:transition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6136" y="140324"/>
            <a:ext cx="6343650" cy="519000"/>
          </a:xfrm>
          <a:prstGeom prst="rect">
            <a:avLst/>
          </a:prstGeom>
        </p:spPr>
        <p:txBody>
          <a:bodyPr anchor="ctr"/>
          <a:lstStyle>
            <a:lvl1pPr>
              <a:defRPr sz="21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5A54A40-03D9-4AD9-8869-0F36C010950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6135" y="957717"/>
            <a:ext cx="8809265" cy="1146854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55107488"/>
      </p:ext>
    </p:extLst>
  </p:cSld>
  <p:clrMapOvr>
    <a:masterClrMapping/>
  </p:clrMapOvr>
  <p:transition>
    <p:fade/>
  </p:transition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56401" y="5845181"/>
            <a:ext cx="419400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350" b="1">
                <a:solidFill>
                  <a:schemeClr val="bg1"/>
                </a:solidFill>
              </a:defRPr>
            </a:lvl1pPr>
            <a:lvl2pPr marL="0" indent="0" algn="l">
              <a:buNone/>
              <a:defRPr sz="1200" b="0">
                <a:solidFill>
                  <a:schemeClr val="bg1"/>
                </a:solidFill>
              </a:defRPr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56400" y="6362700"/>
            <a:ext cx="4195762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788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352425" y="457761"/>
            <a:ext cx="14985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2545287" y="727595"/>
            <a:ext cx="405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9696511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56495" y="5845181"/>
            <a:ext cx="419576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350" b="1">
                <a:solidFill>
                  <a:schemeClr val="tx1"/>
                </a:solidFill>
              </a:defRPr>
            </a:lvl1pPr>
            <a:lvl2pPr marL="0" indent="0" algn="l">
              <a:buNone/>
              <a:defRPr sz="1200" b="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56494" y="6362700"/>
            <a:ext cx="4195762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788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356494" y="457200"/>
            <a:ext cx="14985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</p:grp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2545287" y="727595"/>
            <a:ext cx="405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30103936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157612" y="1530450"/>
            <a:ext cx="2835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2850"/>
              </a:lnSpc>
              <a:defRPr sz="24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56401" y="5845181"/>
            <a:ext cx="419400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56400" y="6362700"/>
            <a:ext cx="4195762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788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352425" y="457761"/>
            <a:ext cx="14985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693529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159000" y="1530000"/>
            <a:ext cx="2835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2850"/>
              </a:lnSpc>
              <a:defRPr sz="24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56495" y="5845181"/>
            <a:ext cx="419576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56494" y="6362700"/>
            <a:ext cx="4195762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788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356494" y="457200"/>
            <a:ext cx="14985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7403997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52425" y="1700214"/>
            <a:ext cx="7813675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3423545"/>
            <a:ext cx="7813676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75761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352425" y="1705669"/>
            <a:ext cx="7813675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3429000"/>
            <a:ext cx="781367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432932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52425" y="1705669"/>
            <a:ext cx="7813675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3429000"/>
            <a:ext cx="781367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8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534533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352425" y="1705669"/>
            <a:ext cx="7813675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3429000"/>
            <a:ext cx="781367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164145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352425" y="1705669"/>
            <a:ext cx="7813675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3429000"/>
            <a:ext cx="781367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042257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52425" y="1590676"/>
            <a:ext cx="6772203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100">
                <a:solidFill>
                  <a:schemeClr val="tx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573726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52426" y="1705669"/>
            <a:ext cx="7813675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tx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7809225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0363" y="1590676"/>
            <a:ext cx="6772203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1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3527660"/>
      </p:ext>
    </p:extLst>
  </p:cSld>
  <p:clrMapOvr>
    <a:masterClrMapping/>
  </p:clrMapOvr>
  <p:transition>
    <p:fade/>
  </p:transition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0363" y="1590676"/>
            <a:ext cx="6772203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1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15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9729281"/>
      </p:ext>
    </p:extLst>
  </p:cSld>
  <p:clrMapOvr>
    <a:masterClrMapping/>
  </p:clrMapOvr>
  <p:transition>
    <p:fade/>
  </p:transition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0363" y="1590676"/>
            <a:ext cx="6772203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1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8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19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3080441"/>
      </p:ext>
    </p:extLst>
  </p:cSld>
  <p:clrMapOvr>
    <a:masterClrMapping/>
  </p:clrMapOvr>
  <p:transition>
    <p:fade/>
  </p:transition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0363" y="1590676"/>
            <a:ext cx="6772203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1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15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0486315"/>
      </p:ext>
    </p:extLst>
  </p:cSld>
  <p:clrMapOvr>
    <a:masterClrMapping/>
  </p:clrMapOvr>
  <p:transition>
    <p:fade/>
  </p:transition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52425" y="1590676"/>
            <a:ext cx="6772203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100">
                <a:solidFill>
                  <a:schemeClr val="tx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550630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52426" y="1665291"/>
            <a:ext cx="7011590" cy="4633910"/>
          </a:xfrm>
          <a:prstGeom prst="rect">
            <a:avLst/>
          </a:prstGeom>
        </p:spPr>
        <p:txBody>
          <a:bodyPr/>
          <a:lstStyle>
            <a:lvl1pPr>
              <a:tabLst>
                <a:tab pos="6729245" algn="r"/>
              </a:tabLst>
              <a:defRPr/>
            </a:lvl1pPr>
            <a:lvl2pPr>
              <a:tabLst>
                <a:tab pos="6729245" algn="r"/>
              </a:tabLst>
              <a:defRPr/>
            </a:lvl2pPr>
            <a:lvl3pPr>
              <a:tabLst>
                <a:tab pos="6729245" algn="r"/>
              </a:tabLst>
              <a:defRPr/>
            </a:lvl3pPr>
            <a:lvl4pPr>
              <a:tabLst>
                <a:tab pos="6729245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  <a:lvl6pPr>
              <a:tabLst>
                <a:tab pos="6729245" algn="r"/>
              </a:tabLst>
              <a:defRPr/>
            </a:lvl6pPr>
            <a:lvl7pPr>
              <a:tabLst>
                <a:tab pos="6729245" algn="r"/>
              </a:tabLst>
              <a:defRPr/>
            </a:lvl7pPr>
            <a:lvl8pPr>
              <a:tabLst>
                <a:tab pos="6729245" algn="r"/>
              </a:tabLst>
              <a:defRPr/>
            </a:lvl8pPr>
            <a:lvl9pPr>
              <a:tabLst>
                <a:tab pos="6729245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57410498"/>
      </p:ext>
    </p:extLst>
  </p:cSld>
  <p:clrMapOvr>
    <a:masterClrMapping/>
  </p:clrMapOvr>
  <p:transition>
    <p:fade/>
  </p:transition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4203651" y="1700213"/>
            <a:ext cx="4587925" cy="4598988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352426" y="1665290"/>
            <a:ext cx="3250247" cy="4633911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17279624"/>
      </p:ext>
    </p:extLst>
  </p:cSld>
  <p:clrMapOvr>
    <a:masterClrMapping/>
  </p:clrMapOvr>
  <p:transition>
    <p:fade/>
  </p:transition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352425" y="1665290"/>
            <a:ext cx="843915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66427563"/>
      </p:ext>
    </p:extLst>
  </p:cSld>
  <p:clrMapOvr>
    <a:masterClrMapping/>
  </p:clrMapOvr>
  <p:transition>
    <p:fade/>
  </p:transition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6219514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 b="1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52425" y="1665818"/>
            <a:ext cx="843915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95250" indent="-9525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09550" indent="-9525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323850" indent="-9525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438150" indent="-9525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05465300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52426" y="1665291"/>
            <a:ext cx="7011590" cy="4633910"/>
          </a:xfrm>
          <a:prstGeom prst="rect">
            <a:avLst/>
          </a:prstGeom>
        </p:spPr>
        <p:txBody>
          <a:bodyPr/>
          <a:lstStyle>
            <a:lvl1pPr>
              <a:tabLst>
                <a:tab pos="6729245" algn="r"/>
              </a:tabLst>
              <a:defRPr/>
            </a:lvl1pPr>
            <a:lvl2pPr>
              <a:tabLst>
                <a:tab pos="6729245" algn="r"/>
              </a:tabLst>
              <a:defRPr/>
            </a:lvl2pPr>
            <a:lvl3pPr>
              <a:tabLst>
                <a:tab pos="6729245" algn="r"/>
              </a:tabLst>
              <a:defRPr/>
            </a:lvl3pPr>
            <a:lvl4pPr>
              <a:tabLst>
                <a:tab pos="6729245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  <a:lvl6pPr>
              <a:tabLst>
                <a:tab pos="6729245" algn="r"/>
              </a:tabLst>
              <a:defRPr/>
            </a:lvl6pPr>
            <a:lvl7pPr>
              <a:tabLst>
                <a:tab pos="6729245" algn="r"/>
              </a:tabLst>
              <a:defRPr/>
            </a:lvl7pPr>
            <a:lvl8pPr>
              <a:tabLst>
                <a:tab pos="6729245" algn="r"/>
              </a:tabLst>
              <a:defRPr/>
            </a:lvl8pPr>
            <a:lvl9pPr>
              <a:tabLst>
                <a:tab pos="6729245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66208412"/>
      </p:ext>
    </p:extLst>
  </p:cSld>
  <p:clrMapOvr>
    <a:masterClrMapping/>
  </p:clrMapOvr>
  <p:transition>
    <p:fade/>
  </p:transition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1095462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52425" y="1676403"/>
            <a:ext cx="843915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 b="1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89743818"/>
      </p:ext>
    </p:extLst>
  </p:cSld>
  <p:clrMapOvr>
    <a:masterClrMapping/>
  </p:clrMapOvr>
  <p:transition>
    <p:fade/>
  </p:transition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51000" y="2054582"/>
            <a:ext cx="843915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51000" y="1659816"/>
            <a:ext cx="8439150" cy="3571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47807554"/>
      </p:ext>
    </p:extLst>
  </p:cSld>
  <p:clrMapOvr>
    <a:masterClrMapping/>
  </p:clrMapOvr>
  <p:transition>
    <p:fade/>
  </p:transition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51000" y="2052000"/>
            <a:ext cx="27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51000" y="1665289"/>
            <a:ext cx="27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3222000" y="2051999"/>
            <a:ext cx="27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3222002" y="1665288"/>
            <a:ext cx="27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6065220" y="2052000"/>
            <a:ext cx="27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065219" y="1659145"/>
            <a:ext cx="2700000" cy="398256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22076042"/>
      </p:ext>
    </p:extLst>
  </p:cSld>
  <p:clrMapOvr>
    <a:masterClrMapping/>
  </p:clrMapOvr>
  <p:transition>
    <p:fade/>
  </p:transition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351000" y="1665289"/>
            <a:ext cx="3996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4795575" y="1656001"/>
            <a:ext cx="3996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90719832"/>
      </p:ext>
    </p:extLst>
  </p:cSld>
  <p:clrMapOvr>
    <a:masterClrMapping/>
  </p:clrMapOvr>
  <p:transition>
    <p:fade/>
  </p:transition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352425" y="1665289"/>
            <a:ext cx="3323893" cy="4633913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111575" y="1700214"/>
            <a:ext cx="468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08192829"/>
      </p:ext>
    </p:extLst>
  </p:cSld>
  <p:clrMapOvr>
    <a:masterClrMapping/>
  </p:clrMapOvr>
  <p:transition>
    <p:fade/>
  </p:transition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352425" y="1665288"/>
            <a:ext cx="3996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 sz="1200"/>
            </a:lvl1pPr>
            <a:lvl2pPr>
              <a:tabLst>
                <a:tab pos="5029074" algn="r"/>
              </a:tabLst>
              <a:defRPr sz="1200"/>
            </a:lvl2pPr>
            <a:lvl3pPr>
              <a:tabLst>
                <a:tab pos="5029074" algn="r"/>
              </a:tabLst>
              <a:defRPr sz="1200"/>
            </a:lvl3pPr>
            <a:lvl4pPr>
              <a:tabLst>
                <a:tab pos="5029074" algn="r"/>
              </a:tabLst>
              <a:defRPr sz="1200"/>
            </a:lvl4pPr>
            <a:lvl5pPr>
              <a:tabLst>
                <a:tab pos="5029074" algn="r"/>
              </a:tabLst>
              <a:defRPr sz="75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4795575" y="1665288"/>
            <a:ext cx="3996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 sz="1200"/>
            </a:lvl1pPr>
            <a:lvl2pPr>
              <a:tabLst>
                <a:tab pos="5029074" algn="r"/>
              </a:tabLst>
              <a:defRPr sz="1200"/>
            </a:lvl2pPr>
            <a:lvl3pPr>
              <a:tabLst>
                <a:tab pos="5029074" algn="r"/>
              </a:tabLst>
              <a:defRPr sz="1200"/>
            </a:lvl3pPr>
            <a:lvl4pPr>
              <a:tabLst>
                <a:tab pos="5029074" algn="r"/>
              </a:tabLst>
              <a:defRPr sz="1200"/>
            </a:lvl4pPr>
            <a:lvl5pPr>
              <a:tabLst>
                <a:tab pos="5029074" algn="r"/>
              </a:tabLst>
              <a:defRPr sz="75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84442034"/>
      </p:ext>
    </p:extLst>
  </p:cSld>
  <p:clrMapOvr>
    <a:masterClrMapping/>
  </p:clrMapOvr>
  <p:transition>
    <p:fade/>
  </p:transition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352425" y="1665288"/>
            <a:ext cx="41103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679688" y="2125014"/>
            <a:ext cx="4111887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679688" y="1655764"/>
            <a:ext cx="4111887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09670519"/>
      </p:ext>
    </p:extLst>
  </p:cSld>
  <p:clrMapOvr>
    <a:masterClrMapping/>
  </p:clrMapOvr>
  <p:transition>
    <p:fade/>
  </p:transition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679688" y="2125014"/>
            <a:ext cx="4111887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679689" y="1654029"/>
            <a:ext cx="4111887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352425" y="2125014"/>
            <a:ext cx="4111888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352424" y="1665289"/>
            <a:ext cx="4111888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01604553"/>
      </p:ext>
    </p:extLst>
  </p:cSld>
  <p:clrMapOvr>
    <a:masterClrMapping/>
  </p:clrMapOvr>
  <p:transition>
    <p:fade/>
  </p:transition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591338" y="1626100"/>
            <a:ext cx="3200237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 sz="1800">
                <a:solidFill>
                  <a:schemeClr val="accent3"/>
                </a:solidFill>
              </a:defRPr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352425" y="1665288"/>
            <a:ext cx="4995650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7349061"/>
      </p:ext>
    </p:extLst>
  </p:cSld>
  <p:clrMapOvr>
    <a:masterClrMapping/>
  </p:clrMapOvr>
  <p:transition>
    <p:fade/>
  </p:transition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366557" y="1700213"/>
            <a:ext cx="1998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2505780" y="1700212"/>
            <a:ext cx="1998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4645004" y="1700212"/>
            <a:ext cx="1998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6784227" y="1700212"/>
            <a:ext cx="1998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61772" y="3076573"/>
            <a:ext cx="198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0"/>
              </a:spcAft>
              <a:defRPr/>
            </a:lvl7pPr>
            <a:lvl8pPr marL="356391" indent="-176396">
              <a:spcAft>
                <a:spcPts val="0"/>
              </a:spcAft>
              <a:defRPr/>
            </a:lvl8pPr>
            <a:lvl9pPr marL="356391" indent="-176396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55408" y="3079742"/>
            <a:ext cx="198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0"/>
              </a:spcAft>
              <a:defRPr/>
            </a:lvl7pPr>
            <a:lvl8pPr marL="356391" indent="-176396">
              <a:spcAft>
                <a:spcPts val="0"/>
              </a:spcAft>
              <a:defRPr/>
            </a:lvl8pPr>
            <a:lvl9pPr marL="356391" indent="-176396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08590" y="3076573"/>
            <a:ext cx="198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0"/>
              </a:spcAft>
              <a:defRPr/>
            </a:lvl7pPr>
            <a:lvl8pPr marL="356391" indent="-176396">
              <a:spcAft>
                <a:spcPts val="0"/>
              </a:spcAft>
              <a:defRPr/>
            </a:lvl8pPr>
            <a:lvl9pPr marL="356391" indent="-176396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802227" y="3079742"/>
            <a:ext cx="198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0"/>
              </a:spcAft>
              <a:defRPr/>
            </a:lvl7pPr>
            <a:lvl8pPr marL="356391" indent="-176396">
              <a:spcAft>
                <a:spcPts val="0"/>
              </a:spcAft>
              <a:defRPr/>
            </a:lvl8pPr>
            <a:lvl9pPr marL="356391" indent="-176396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46712449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4203651" y="1700213"/>
            <a:ext cx="4587925" cy="4598988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352426" y="1665290"/>
            <a:ext cx="3250247" cy="4633911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9958719"/>
      </p:ext>
    </p:extLst>
  </p:cSld>
  <p:clrMapOvr>
    <a:masterClrMapping/>
  </p:clrMapOvr>
  <p:transition>
    <p:fade/>
  </p:transition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357585" y="1703863"/>
            <a:ext cx="41526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38675" y="1703863"/>
            <a:ext cx="41526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352425" y="4065173"/>
            <a:ext cx="41526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4638675" y="4065173"/>
            <a:ext cx="41526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357585" y="1880213"/>
            <a:ext cx="15876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653073" y="1880212"/>
            <a:ext cx="15876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361334" y="4256211"/>
            <a:ext cx="15876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4653073" y="4256211"/>
            <a:ext cx="15876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130585" y="1880213"/>
            <a:ext cx="23796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6413007" y="1880213"/>
            <a:ext cx="2378268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101913" y="4256213"/>
            <a:ext cx="23796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6411675" y="4256212"/>
            <a:ext cx="23796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51744016"/>
      </p:ext>
    </p:extLst>
  </p:cSld>
  <p:clrMapOvr>
    <a:masterClrMapping/>
  </p:clrMapOvr>
  <p:transition>
    <p:fade/>
  </p:transition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358957" y="1700213"/>
            <a:ext cx="2729484" cy="2052830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6062088" y="1700214"/>
            <a:ext cx="2729487" cy="2059099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3213141" y="1700213"/>
            <a:ext cx="2727722" cy="2057767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358957" y="3832225"/>
            <a:ext cx="2729484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3208735" y="3832224"/>
            <a:ext cx="272772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6062088" y="3832225"/>
            <a:ext cx="2729487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11879025"/>
      </p:ext>
    </p:extLst>
  </p:cSld>
  <p:clrMapOvr>
    <a:masterClrMapping/>
  </p:clrMapOvr>
  <p:transition>
    <p:fade/>
  </p:transition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4836212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24154607"/>
      </p:ext>
    </p:extLst>
  </p:cSld>
  <p:clrMapOvr>
    <a:masterClrMapping/>
  </p:clrMapOvr>
  <p:transition>
    <p:fade/>
  </p:transition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52424" y="1857893"/>
            <a:ext cx="4158000" cy="1695451"/>
          </a:xfrm>
        </p:spPr>
        <p:txBody>
          <a:bodyPr/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633097" y="1857893"/>
            <a:ext cx="4158000" cy="1695451"/>
          </a:xfrm>
        </p:spPr>
        <p:txBody>
          <a:bodyPr/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352424" y="1705379"/>
            <a:ext cx="4158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4625847" y="1705379"/>
            <a:ext cx="4158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7850727" y="1857893"/>
            <a:ext cx="933121" cy="549275"/>
          </a:xfrm>
        </p:spPr>
        <p:txBody>
          <a:bodyPr/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3551096" y="1863918"/>
            <a:ext cx="933680" cy="549275"/>
          </a:xfrm>
        </p:spPr>
        <p:txBody>
          <a:bodyPr/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298570069"/>
      </p:ext>
    </p:extLst>
  </p:cSld>
  <p:clrMapOvr>
    <a:masterClrMapping/>
  </p:clrMapOvr>
  <p:transition>
    <p:fade/>
  </p:transition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52424" y="1857893"/>
            <a:ext cx="4158000" cy="1695451"/>
          </a:xfrm>
        </p:spPr>
        <p:txBody>
          <a:bodyPr>
            <a:noAutofit/>
          </a:bodyPr>
          <a:lstStyle>
            <a:lvl1pPr marL="0" indent="0">
              <a:spcAft>
                <a:spcPts val="1000"/>
              </a:spcAft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633097" y="1857893"/>
            <a:ext cx="4158000" cy="1695451"/>
          </a:xfrm>
        </p:spPr>
        <p:txBody>
          <a:bodyPr>
            <a:noAutofit/>
          </a:bodyPr>
          <a:lstStyle>
            <a:lvl1pPr marL="0" indent="0">
              <a:spcAft>
                <a:spcPts val="1000"/>
              </a:spcAft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352424" y="1705379"/>
            <a:ext cx="4158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25847" y="1705379"/>
            <a:ext cx="4158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7850727" y="1857893"/>
            <a:ext cx="933121" cy="549275"/>
          </a:xfrm>
        </p:spPr>
        <p:txBody>
          <a:bodyPr>
            <a:noAutofit/>
          </a:bodyPr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352424" y="4249682"/>
            <a:ext cx="4158000" cy="1695451"/>
          </a:xfrm>
        </p:spPr>
        <p:txBody>
          <a:bodyPr>
            <a:noAutofit/>
          </a:bodyPr>
          <a:lstStyle>
            <a:lvl1pPr marL="0" indent="0">
              <a:spcAft>
                <a:spcPts val="1000"/>
              </a:spcAft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4633095" y="4249682"/>
            <a:ext cx="4158000" cy="1695451"/>
          </a:xfrm>
        </p:spPr>
        <p:txBody>
          <a:bodyPr>
            <a:noAutofit/>
          </a:bodyPr>
          <a:lstStyle>
            <a:lvl1pPr marL="0" indent="0">
              <a:spcAft>
                <a:spcPts val="1000"/>
              </a:spcAft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352424" y="4103519"/>
            <a:ext cx="4158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4625847" y="4103519"/>
            <a:ext cx="4158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3525327" y="4249684"/>
            <a:ext cx="956187" cy="549275"/>
          </a:xfrm>
        </p:spPr>
        <p:txBody>
          <a:bodyPr>
            <a:noAutofit/>
          </a:bodyPr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7844277" y="4248210"/>
            <a:ext cx="933120" cy="549275"/>
          </a:xfrm>
        </p:spPr>
        <p:txBody>
          <a:bodyPr>
            <a:noAutofit/>
          </a:bodyPr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3551096" y="1863918"/>
            <a:ext cx="933680" cy="549275"/>
          </a:xfrm>
        </p:spPr>
        <p:txBody>
          <a:bodyPr>
            <a:noAutofit/>
          </a:bodyPr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09770246"/>
      </p:ext>
    </p:extLst>
  </p:cSld>
  <p:clrMapOvr>
    <a:masterClrMapping/>
  </p:clrMapOvr>
  <p:transition>
    <p:fade/>
  </p:transition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3208735" y="1705968"/>
            <a:ext cx="272772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352425" y="1705968"/>
            <a:ext cx="2720579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6078132" y="1705968"/>
            <a:ext cx="2721769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208735" y="1851441"/>
            <a:ext cx="2722626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52425" y="1851441"/>
            <a:ext cx="2720579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069807" y="1851441"/>
            <a:ext cx="2721769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27790844"/>
      </p:ext>
    </p:extLst>
  </p:cSld>
  <p:clrMapOvr>
    <a:masterClrMapping/>
  </p:clrMapOvr>
  <p:transition>
    <p:fade/>
  </p:transition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52425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847575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17475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682525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55234892"/>
      </p:ext>
    </p:extLst>
  </p:cSld>
  <p:clrMapOvr>
    <a:masterClrMapping/>
  </p:clrMapOvr>
  <p:transition>
    <p:fade/>
  </p:transition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52427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847575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17476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682525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14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8536784" y="6477002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08474553"/>
      </p:ext>
    </p:extLst>
  </p:cSld>
  <p:clrMapOvr>
    <a:masterClrMapping/>
  </p:clrMapOvr>
  <p:transition>
    <p:fade/>
  </p:transition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350837" y="1665818"/>
            <a:ext cx="4153298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84600413"/>
      </p:ext>
    </p:extLst>
  </p:cSld>
  <p:clrMapOvr>
    <a:masterClrMapping/>
  </p:clrMapOvr>
  <p:transition>
    <p:fade/>
  </p:transition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3986348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45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70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07F954-CEF2-4DDC-BC81-4D70CA18237A}" type="datetimeFigureOut">
              <a:rPr lang="en-US" smtClean="0"/>
              <a:t>2/3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A64D54-1854-4A5A-ACAB-732A71048CD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568434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352425" y="1665290"/>
            <a:ext cx="843915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65757817"/>
      </p:ext>
    </p:extLst>
  </p:cSld>
  <p:clrMapOvr>
    <a:masterClrMapping/>
  </p:clrMapOvr>
  <p:transition>
    <p:fade/>
  </p:transition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25093620"/>
      </p:ext>
    </p:extLst>
  </p:cSld>
  <p:clrMapOvr>
    <a:masterClrMapping/>
  </p:clrMapOvr>
  <p:transition>
    <p:fade/>
  </p:transition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6136" y="140324"/>
            <a:ext cx="6343650" cy="519000"/>
          </a:xfrm>
          <a:prstGeom prst="rect">
            <a:avLst/>
          </a:prstGeom>
        </p:spPr>
        <p:txBody>
          <a:bodyPr anchor="ctr"/>
          <a:lstStyle>
            <a:lvl1pPr>
              <a:defRPr sz="21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5A54A40-03D9-4AD9-8869-0F36C010950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6135" y="957717"/>
            <a:ext cx="8809265" cy="1146854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49236656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6024313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 b="1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52425" y="1665818"/>
            <a:ext cx="843915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95250" indent="-9525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09550" indent="-9525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323850" indent="-9525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438150" indent="-9525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36490930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5199346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52425" y="1676403"/>
            <a:ext cx="843915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 b="1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06535920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51000" y="2054582"/>
            <a:ext cx="843915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51000" y="1659816"/>
            <a:ext cx="8439150" cy="3571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01378489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51000" y="2052000"/>
            <a:ext cx="27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51000" y="1665289"/>
            <a:ext cx="27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3222000" y="2051999"/>
            <a:ext cx="27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3222002" y="1665288"/>
            <a:ext cx="27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6065220" y="2052000"/>
            <a:ext cx="27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065219" y="1659145"/>
            <a:ext cx="2700000" cy="398256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18536130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351000" y="1665289"/>
            <a:ext cx="3996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4795575" y="1656001"/>
            <a:ext cx="3996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20672297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352425" y="1665289"/>
            <a:ext cx="3323893" cy="4633913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111575" y="1700214"/>
            <a:ext cx="468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33685937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352425" y="1665288"/>
            <a:ext cx="3996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 sz="1200"/>
            </a:lvl1pPr>
            <a:lvl2pPr>
              <a:tabLst>
                <a:tab pos="5029074" algn="r"/>
              </a:tabLst>
              <a:defRPr sz="1200"/>
            </a:lvl2pPr>
            <a:lvl3pPr>
              <a:tabLst>
                <a:tab pos="5029074" algn="r"/>
              </a:tabLst>
              <a:defRPr sz="1200"/>
            </a:lvl3pPr>
            <a:lvl4pPr>
              <a:tabLst>
                <a:tab pos="5029074" algn="r"/>
              </a:tabLst>
              <a:defRPr sz="1200"/>
            </a:lvl4pPr>
            <a:lvl5pPr>
              <a:tabLst>
                <a:tab pos="5029074" algn="r"/>
              </a:tabLst>
              <a:defRPr sz="75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4795575" y="1665288"/>
            <a:ext cx="3996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 sz="1200"/>
            </a:lvl1pPr>
            <a:lvl2pPr>
              <a:tabLst>
                <a:tab pos="5029074" algn="r"/>
              </a:tabLst>
              <a:defRPr sz="1200"/>
            </a:lvl2pPr>
            <a:lvl3pPr>
              <a:tabLst>
                <a:tab pos="5029074" algn="r"/>
              </a:tabLst>
              <a:defRPr sz="1200"/>
            </a:lvl3pPr>
            <a:lvl4pPr>
              <a:tabLst>
                <a:tab pos="5029074" algn="r"/>
              </a:tabLst>
              <a:defRPr sz="1200"/>
            </a:lvl4pPr>
            <a:lvl5pPr>
              <a:tabLst>
                <a:tab pos="5029074" algn="r"/>
              </a:tabLst>
              <a:defRPr sz="75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16330664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352425" y="1665288"/>
            <a:ext cx="41103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679688" y="2125014"/>
            <a:ext cx="4111887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679688" y="1655764"/>
            <a:ext cx="4111887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99907720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679688" y="2125014"/>
            <a:ext cx="4111887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679689" y="1654029"/>
            <a:ext cx="4111887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352425" y="2125014"/>
            <a:ext cx="4111888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352424" y="1665289"/>
            <a:ext cx="4111888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78267987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07F954-CEF2-4DDC-BC81-4D70CA18237A}" type="datetimeFigureOut">
              <a:rPr lang="en-US" smtClean="0"/>
              <a:t>2/3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A64D54-1854-4A5A-ACAB-732A71048CD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460587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591338" y="1626100"/>
            <a:ext cx="3200237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 sz="1800">
                <a:solidFill>
                  <a:schemeClr val="accent3"/>
                </a:solidFill>
              </a:defRPr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352425" y="1665288"/>
            <a:ext cx="4995650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53928088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366557" y="1700213"/>
            <a:ext cx="1998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2505780" y="1700212"/>
            <a:ext cx="1998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4645004" y="1700212"/>
            <a:ext cx="1998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6784227" y="1700212"/>
            <a:ext cx="1998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61772" y="3076573"/>
            <a:ext cx="198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0"/>
              </a:spcAft>
              <a:defRPr/>
            </a:lvl7pPr>
            <a:lvl8pPr marL="356391" indent="-176396">
              <a:spcAft>
                <a:spcPts val="0"/>
              </a:spcAft>
              <a:defRPr/>
            </a:lvl8pPr>
            <a:lvl9pPr marL="356391" indent="-176396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55408" y="3079742"/>
            <a:ext cx="198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0"/>
              </a:spcAft>
              <a:defRPr/>
            </a:lvl7pPr>
            <a:lvl8pPr marL="356391" indent="-176396">
              <a:spcAft>
                <a:spcPts val="0"/>
              </a:spcAft>
              <a:defRPr/>
            </a:lvl8pPr>
            <a:lvl9pPr marL="356391" indent="-176396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08590" y="3076573"/>
            <a:ext cx="198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0"/>
              </a:spcAft>
              <a:defRPr/>
            </a:lvl7pPr>
            <a:lvl8pPr marL="356391" indent="-176396">
              <a:spcAft>
                <a:spcPts val="0"/>
              </a:spcAft>
              <a:defRPr/>
            </a:lvl8pPr>
            <a:lvl9pPr marL="356391" indent="-176396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802227" y="3079742"/>
            <a:ext cx="198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0"/>
              </a:spcAft>
              <a:defRPr/>
            </a:lvl7pPr>
            <a:lvl8pPr marL="356391" indent="-176396">
              <a:spcAft>
                <a:spcPts val="0"/>
              </a:spcAft>
              <a:defRPr/>
            </a:lvl8pPr>
            <a:lvl9pPr marL="356391" indent="-176396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38332598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357585" y="1703863"/>
            <a:ext cx="41526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38675" y="1703863"/>
            <a:ext cx="41526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352425" y="4065173"/>
            <a:ext cx="41526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4638675" y="4065173"/>
            <a:ext cx="41526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357585" y="1880213"/>
            <a:ext cx="15876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653073" y="1880212"/>
            <a:ext cx="15876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361334" y="4256211"/>
            <a:ext cx="15876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4653073" y="4256211"/>
            <a:ext cx="15876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130585" y="1880213"/>
            <a:ext cx="23796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6413007" y="1880213"/>
            <a:ext cx="2378268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101913" y="4256213"/>
            <a:ext cx="23796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6411675" y="4256212"/>
            <a:ext cx="23796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7988276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358957" y="1700213"/>
            <a:ext cx="2729484" cy="2052830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6062088" y="1700214"/>
            <a:ext cx="2729487" cy="2059099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3213141" y="1700213"/>
            <a:ext cx="2727722" cy="2057767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358957" y="3832225"/>
            <a:ext cx="2729484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3208735" y="3832224"/>
            <a:ext cx="272772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6062088" y="3832225"/>
            <a:ext cx="2729487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78707322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5460710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88030877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52424" y="1857893"/>
            <a:ext cx="4158000" cy="1695451"/>
          </a:xfrm>
        </p:spPr>
        <p:txBody>
          <a:bodyPr/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633097" y="1857893"/>
            <a:ext cx="4158000" cy="1695451"/>
          </a:xfrm>
        </p:spPr>
        <p:txBody>
          <a:bodyPr/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352424" y="1705379"/>
            <a:ext cx="4158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4625847" y="1705379"/>
            <a:ext cx="4158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7850727" y="1857893"/>
            <a:ext cx="933121" cy="549275"/>
          </a:xfrm>
        </p:spPr>
        <p:txBody>
          <a:bodyPr/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3551096" y="1863918"/>
            <a:ext cx="933680" cy="549275"/>
          </a:xfrm>
        </p:spPr>
        <p:txBody>
          <a:bodyPr/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111487770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52424" y="1857893"/>
            <a:ext cx="4158000" cy="1695451"/>
          </a:xfrm>
        </p:spPr>
        <p:txBody>
          <a:bodyPr>
            <a:noAutofit/>
          </a:bodyPr>
          <a:lstStyle>
            <a:lvl1pPr marL="0" indent="0">
              <a:spcAft>
                <a:spcPts val="1000"/>
              </a:spcAft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633097" y="1857893"/>
            <a:ext cx="4158000" cy="1695451"/>
          </a:xfrm>
        </p:spPr>
        <p:txBody>
          <a:bodyPr>
            <a:noAutofit/>
          </a:bodyPr>
          <a:lstStyle>
            <a:lvl1pPr marL="0" indent="0">
              <a:spcAft>
                <a:spcPts val="1000"/>
              </a:spcAft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352424" y="1705379"/>
            <a:ext cx="4158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25847" y="1705379"/>
            <a:ext cx="4158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7850727" y="1857893"/>
            <a:ext cx="933121" cy="549275"/>
          </a:xfrm>
        </p:spPr>
        <p:txBody>
          <a:bodyPr>
            <a:noAutofit/>
          </a:bodyPr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352424" y="4249682"/>
            <a:ext cx="4158000" cy="1695451"/>
          </a:xfrm>
        </p:spPr>
        <p:txBody>
          <a:bodyPr>
            <a:noAutofit/>
          </a:bodyPr>
          <a:lstStyle>
            <a:lvl1pPr marL="0" indent="0">
              <a:spcAft>
                <a:spcPts val="1000"/>
              </a:spcAft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4633095" y="4249682"/>
            <a:ext cx="4158000" cy="1695451"/>
          </a:xfrm>
        </p:spPr>
        <p:txBody>
          <a:bodyPr>
            <a:noAutofit/>
          </a:bodyPr>
          <a:lstStyle>
            <a:lvl1pPr marL="0" indent="0">
              <a:spcAft>
                <a:spcPts val="1000"/>
              </a:spcAft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352424" y="4103519"/>
            <a:ext cx="4158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4625847" y="4103519"/>
            <a:ext cx="4158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3525327" y="4249684"/>
            <a:ext cx="956187" cy="549275"/>
          </a:xfrm>
        </p:spPr>
        <p:txBody>
          <a:bodyPr>
            <a:noAutofit/>
          </a:bodyPr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7844277" y="4248210"/>
            <a:ext cx="933120" cy="549275"/>
          </a:xfrm>
        </p:spPr>
        <p:txBody>
          <a:bodyPr>
            <a:noAutofit/>
          </a:bodyPr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3551096" y="1863918"/>
            <a:ext cx="933680" cy="549275"/>
          </a:xfrm>
        </p:spPr>
        <p:txBody>
          <a:bodyPr>
            <a:noAutofit/>
          </a:bodyPr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59060449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3208735" y="1705968"/>
            <a:ext cx="272772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352425" y="1705968"/>
            <a:ext cx="2720579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6078132" y="1705968"/>
            <a:ext cx="2721769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208735" y="1851441"/>
            <a:ext cx="2722626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52425" y="1851441"/>
            <a:ext cx="2720579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069807" y="1851441"/>
            <a:ext cx="2721769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60640944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52425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847575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17475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682525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48134745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52427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847575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17476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682525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14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Copyright © 2020 Deloitte Development LL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8536784" y="6477002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40140882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9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2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2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07F954-CEF2-4DDC-BC81-4D70CA18237A}" type="datetimeFigureOut">
              <a:rPr lang="en-US" smtClean="0"/>
              <a:t>2/3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A64D54-1854-4A5A-ACAB-732A71048CD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055927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350837" y="1665818"/>
            <a:ext cx="4153298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87103700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65096195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54674500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6136" y="140324"/>
            <a:ext cx="6343650" cy="519000"/>
          </a:xfrm>
          <a:prstGeom prst="rect">
            <a:avLst/>
          </a:prstGeom>
        </p:spPr>
        <p:txBody>
          <a:bodyPr anchor="ctr"/>
          <a:lstStyle>
            <a:lvl1pPr>
              <a:defRPr sz="21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5A54A40-03D9-4AD9-8869-0F36C010950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6135" y="957717"/>
            <a:ext cx="8809265" cy="1146854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68309275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425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425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2/3/2022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0622039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56401" y="5845181"/>
            <a:ext cx="419400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350" b="1">
                <a:solidFill>
                  <a:schemeClr val="bg1"/>
                </a:solidFill>
              </a:defRPr>
            </a:lvl1pPr>
            <a:lvl2pPr marL="0" indent="0" algn="l">
              <a:buNone/>
              <a:defRPr sz="1200" b="0">
                <a:solidFill>
                  <a:schemeClr val="bg1"/>
                </a:solidFill>
              </a:defRPr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56400" y="6362700"/>
            <a:ext cx="4195762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788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352425" y="457761"/>
            <a:ext cx="14985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2545287" y="727595"/>
            <a:ext cx="405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7426463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56495" y="5845181"/>
            <a:ext cx="419576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350" b="1">
                <a:solidFill>
                  <a:schemeClr val="tx1"/>
                </a:solidFill>
              </a:defRPr>
            </a:lvl1pPr>
            <a:lvl2pPr marL="0" indent="0" algn="l">
              <a:buNone/>
              <a:defRPr sz="1200" b="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56494" y="6362700"/>
            <a:ext cx="4195762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788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356494" y="457200"/>
            <a:ext cx="14985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</p:grp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2545287" y="727595"/>
            <a:ext cx="405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52067059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157612" y="1530450"/>
            <a:ext cx="2835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2850"/>
              </a:lnSpc>
              <a:defRPr sz="24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56401" y="5845181"/>
            <a:ext cx="419400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56400" y="6362700"/>
            <a:ext cx="4195762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788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352425" y="457761"/>
            <a:ext cx="14985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392288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159000" y="1530000"/>
            <a:ext cx="2835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2850"/>
              </a:lnSpc>
              <a:defRPr sz="24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56495" y="5845181"/>
            <a:ext cx="419576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56494" y="6362700"/>
            <a:ext cx="4195762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788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356494" y="457200"/>
            <a:ext cx="14985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2444588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52425" y="1700214"/>
            <a:ext cx="7813675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3423545"/>
            <a:ext cx="7813676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792674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07F954-CEF2-4DDC-BC81-4D70CA18237A}" type="datetimeFigureOut">
              <a:rPr lang="en-US" smtClean="0"/>
              <a:t>2/3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A64D54-1854-4A5A-ACAB-732A71048CD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237153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352425" y="1705669"/>
            <a:ext cx="7813675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3429000"/>
            <a:ext cx="781367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827260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52425" y="1705669"/>
            <a:ext cx="7813675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3429000"/>
            <a:ext cx="781367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8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747853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352425" y="1705669"/>
            <a:ext cx="7813675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3429000"/>
            <a:ext cx="781367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248378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352425" y="1705669"/>
            <a:ext cx="7813675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3429000"/>
            <a:ext cx="781367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949627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52426" y="1705669"/>
            <a:ext cx="7813675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tx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3808771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0363" y="1590676"/>
            <a:ext cx="6772203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1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2260918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0363" y="1590676"/>
            <a:ext cx="6772203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1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15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4011753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0363" y="1590676"/>
            <a:ext cx="6772203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1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8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19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5261679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0363" y="1590676"/>
            <a:ext cx="6772203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1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15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735434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52425" y="1590676"/>
            <a:ext cx="6772203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100">
                <a:solidFill>
                  <a:schemeClr val="tx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736192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07F954-CEF2-4DDC-BC81-4D70CA18237A}" type="datetimeFigureOut">
              <a:rPr lang="en-US" smtClean="0"/>
              <a:t>2/3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A64D54-1854-4A5A-ACAB-732A71048CD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279539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52426" y="1665291"/>
            <a:ext cx="7011590" cy="4633910"/>
          </a:xfrm>
          <a:prstGeom prst="rect">
            <a:avLst/>
          </a:prstGeom>
        </p:spPr>
        <p:txBody>
          <a:bodyPr/>
          <a:lstStyle>
            <a:lvl1pPr>
              <a:tabLst>
                <a:tab pos="6729245" algn="r"/>
              </a:tabLst>
              <a:defRPr/>
            </a:lvl1pPr>
            <a:lvl2pPr>
              <a:tabLst>
                <a:tab pos="6729245" algn="r"/>
              </a:tabLst>
              <a:defRPr/>
            </a:lvl2pPr>
            <a:lvl3pPr>
              <a:tabLst>
                <a:tab pos="6729245" algn="r"/>
              </a:tabLst>
              <a:defRPr/>
            </a:lvl3pPr>
            <a:lvl4pPr>
              <a:tabLst>
                <a:tab pos="6729245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  <a:lvl6pPr>
              <a:tabLst>
                <a:tab pos="6729245" algn="r"/>
              </a:tabLst>
              <a:defRPr/>
            </a:lvl6pPr>
            <a:lvl7pPr>
              <a:tabLst>
                <a:tab pos="6729245" algn="r"/>
              </a:tabLst>
              <a:defRPr/>
            </a:lvl7pPr>
            <a:lvl8pPr>
              <a:tabLst>
                <a:tab pos="6729245" algn="r"/>
              </a:tabLst>
              <a:defRPr/>
            </a:lvl8pPr>
            <a:lvl9pPr>
              <a:tabLst>
                <a:tab pos="6729245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74116442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4203651" y="1700213"/>
            <a:ext cx="4587925" cy="4598988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352426" y="1665290"/>
            <a:ext cx="3250247" cy="4633911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92783675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352425" y="1665290"/>
            <a:ext cx="843915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83528589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7979025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 b="1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52425" y="1665818"/>
            <a:ext cx="843915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95250" indent="-9525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09550" indent="-9525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323850" indent="-9525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438150" indent="-9525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50039857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2334091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52425" y="1676403"/>
            <a:ext cx="843915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 b="1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94244213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51000" y="2054582"/>
            <a:ext cx="843915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51000" y="1659816"/>
            <a:ext cx="8439150" cy="3571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82201010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51000" y="2052000"/>
            <a:ext cx="27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51000" y="1665289"/>
            <a:ext cx="27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3222000" y="2051999"/>
            <a:ext cx="27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3222002" y="1665288"/>
            <a:ext cx="27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6065220" y="2052000"/>
            <a:ext cx="27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065219" y="1659145"/>
            <a:ext cx="2700000" cy="398256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57572545"/>
      </p:ext>
    </p:extLst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351000" y="1665289"/>
            <a:ext cx="3996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4795575" y="1656001"/>
            <a:ext cx="3996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8259708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352425" y="1665289"/>
            <a:ext cx="3323893" cy="4633913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111575" y="1700214"/>
            <a:ext cx="468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43942517"/>
      </p:ext>
    </p:extLst>
  </p:cSld>
  <p:clrMapOvr>
    <a:masterClrMapping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352425" y="1665288"/>
            <a:ext cx="3996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 sz="1200"/>
            </a:lvl1pPr>
            <a:lvl2pPr>
              <a:tabLst>
                <a:tab pos="5029074" algn="r"/>
              </a:tabLst>
              <a:defRPr sz="1200"/>
            </a:lvl2pPr>
            <a:lvl3pPr>
              <a:tabLst>
                <a:tab pos="5029074" algn="r"/>
              </a:tabLst>
              <a:defRPr sz="1200"/>
            </a:lvl3pPr>
            <a:lvl4pPr>
              <a:tabLst>
                <a:tab pos="5029074" algn="r"/>
              </a:tabLst>
              <a:defRPr sz="1200"/>
            </a:lvl4pPr>
            <a:lvl5pPr>
              <a:tabLst>
                <a:tab pos="5029074" algn="r"/>
              </a:tabLst>
              <a:defRPr sz="75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4795575" y="1665288"/>
            <a:ext cx="3996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 sz="1200"/>
            </a:lvl1pPr>
            <a:lvl2pPr>
              <a:tabLst>
                <a:tab pos="5029074" algn="r"/>
              </a:tabLst>
              <a:defRPr sz="1200"/>
            </a:lvl2pPr>
            <a:lvl3pPr>
              <a:tabLst>
                <a:tab pos="5029074" algn="r"/>
              </a:tabLst>
              <a:defRPr sz="1200"/>
            </a:lvl3pPr>
            <a:lvl4pPr>
              <a:tabLst>
                <a:tab pos="5029074" algn="r"/>
              </a:tabLst>
              <a:defRPr sz="1200"/>
            </a:lvl4pPr>
            <a:lvl5pPr>
              <a:tabLst>
                <a:tab pos="5029074" algn="r"/>
              </a:tabLst>
              <a:defRPr sz="75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44751366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32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07F954-CEF2-4DDC-BC81-4D70CA18237A}" type="datetimeFigureOut">
              <a:rPr lang="en-US" smtClean="0"/>
              <a:t>2/3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A64D54-1854-4A5A-ACAB-732A71048CD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370564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352425" y="1665288"/>
            <a:ext cx="41103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679688" y="2125014"/>
            <a:ext cx="4111887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679688" y="1655764"/>
            <a:ext cx="4111887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77068190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679688" y="2125014"/>
            <a:ext cx="4111887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679689" y="1654029"/>
            <a:ext cx="4111887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352425" y="2125014"/>
            <a:ext cx="4111888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352424" y="1665289"/>
            <a:ext cx="4111888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46062964"/>
      </p:ext>
    </p:extLst>
  </p:cSld>
  <p:clrMapOvr>
    <a:masterClrMapping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591338" y="1626100"/>
            <a:ext cx="3200237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 sz="1800">
                <a:solidFill>
                  <a:schemeClr val="accent3"/>
                </a:solidFill>
              </a:defRPr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352425" y="1665288"/>
            <a:ext cx="4995650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65076625"/>
      </p:ext>
    </p:extLst>
  </p:cSld>
  <p:clrMapOvr>
    <a:masterClrMapping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366557" y="1700213"/>
            <a:ext cx="1998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2505780" y="1700212"/>
            <a:ext cx="1998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4645004" y="1700212"/>
            <a:ext cx="1998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6784227" y="1700212"/>
            <a:ext cx="1998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61772" y="3076573"/>
            <a:ext cx="198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0"/>
              </a:spcAft>
              <a:defRPr/>
            </a:lvl7pPr>
            <a:lvl8pPr marL="356391" indent="-176396">
              <a:spcAft>
                <a:spcPts val="0"/>
              </a:spcAft>
              <a:defRPr/>
            </a:lvl8pPr>
            <a:lvl9pPr marL="356391" indent="-176396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55408" y="3079742"/>
            <a:ext cx="198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0"/>
              </a:spcAft>
              <a:defRPr/>
            </a:lvl7pPr>
            <a:lvl8pPr marL="356391" indent="-176396">
              <a:spcAft>
                <a:spcPts val="0"/>
              </a:spcAft>
              <a:defRPr/>
            </a:lvl8pPr>
            <a:lvl9pPr marL="356391" indent="-176396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08590" y="3076573"/>
            <a:ext cx="198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0"/>
              </a:spcAft>
              <a:defRPr/>
            </a:lvl7pPr>
            <a:lvl8pPr marL="356391" indent="-176396">
              <a:spcAft>
                <a:spcPts val="0"/>
              </a:spcAft>
              <a:defRPr/>
            </a:lvl8pPr>
            <a:lvl9pPr marL="356391" indent="-176396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802227" y="3079742"/>
            <a:ext cx="198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0"/>
              </a:spcAft>
              <a:defRPr/>
            </a:lvl7pPr>
            <a:lvl8pPr marL="356391" indent="-176396">
              <a:spcAft>
                <a:spcPts val="0"/>
              </a:spcAft>
              <a:defRPr/>
            </a:lvl8pPr>
            <a:lvl9pPr marL="356391" indent="-176396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24292629"/>
      </p:ext>
    </p:extLst>
  </p:cSld>
  <p:clrMapOvr>
    <a:masterClrMapping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357585" y="1703863"/>
            <a:ext cx="41526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38675" y="1703863"/>
            <a:ext cx="41526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352425" y="4065173"/>
            <a:ext cx="41526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4638675" y="4065173"/>
            <a:ext cx="41526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357585" y="1880213"/>
            <a:ext cx="15876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653073" y="1880212"/>
            <a:ext cx="15876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361334" y="4256211"/>
            <a:ext cx="15876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4653073" y="4256211"/>
            <a:ext cx="15876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130585" y="1880213"/>
            <a:ext cx="23796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6413007" y="1880213"/>
            <a:ext cx="2378268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101913" y="4256213"/>
            <a:ext cx="23796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6411675" y="4256212"/>
            <a:ext cx="23796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02913928"/>
      </p:ext>
    </p:extLst>
  </p:cSld>
  <p:clrMapOvr>
    <a:masterClrMapping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358957" y="1700213"/>
            <a:ext cx="2729484" cy="2052830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6062088" y="1700214"/>
            <a:ext cx="2729487" cy="2059099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3213141" y="1700213"/>
            <a:ext cx="2727722" cy="2057767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358957" y="3832225"/>
            <a:ext cx="2729484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3208735" y="3832224"/>
            <a:ext cx="272772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6062088" y="3832225"/>
            <a:ext cx="2729487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38874520"/>
      </p:ext>
    </p:extLst>
  </p:cSld>
  <p:clrMapOvr>
    <a:masterClrMapping/>
  </p:clrMapOvr>
  <p:transition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9147886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04773105"/>
      </p:ext>
    </p:extLst>
  </p:cSld>
  <p:clrMapOvr>
    <a:masterClrMapping/>
  </p:clrMapOvr>
  <p:transition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52424" y="1857893"/>
            <a:ext cx="4158000" cy="1695451"/>
          </a:xfrm>
        </p:spPr>
        <p:txBody>
          <a:bodyPr/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633097" y="1857893"/>
            <a:ext cx="4158000" cy="1695451"/>
          </a:xfrm>
        </p:spPr>
        <p:txBody>
          <a:bodyPr/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352424" y="1705379"/>
            <a:ext cx="4158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4625847" y="1705379"/>
            <a:ext cx="4158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7850727" y="1857893"/>
            <a:ext cx="933121" cy="549275"/>
          </a:xfrm>
        </p:spPr>
        <p:txBody>
          <a:bodyPr/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3551096" y="1863918"/>
            <a:ext cx="933680" cy="549275"/>
          </a:xfrm>
        </p:spPr>
        <p:txBody>
          <a:bodyPr/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510597097"/>
      </p:ext>
    </p:extLst>
  </p:cSld>
  <p:clrMapOvr>
    <a:masterClrMapping/>
  </p:clrMapOvr>
  <p:transition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52424" y="1857893"/>
            <a:ext cx="4158000" cy="1695451"/>
          </a:xfrm>
        </p:spPr>
        <p:txBody>
          <a:bodyPr>
            <a:noAutofit/>
          </a:bodyPr>
          <a:lstStyle>
            <a:lvl1pPr marL="0" indent="0">
              <a:spcAft>
                <a:spcPts val="1000"/>
              </a:spcAft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633097" y="1857893"/>
            <a:ext cx="4158000" cy="1695451"/>
          </a:xfrm>
        </p:spPr>
        <p:txBody>
          <a:bodyPr>
            <a:noAutofit/>
          </a:bodyPr>
          <a:lstStyle>
            <a:lvl1pPr marL="0" indent="0">
              <a:spcAft>
                <a:spcPts val="1000"/>
              </a:spcAft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352424" y="1705379"/>
            <a:ext cx="4158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25847" y="1705379"/>
            <a:ext cx="4158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7850727" y="1857893"/>
            <a:ext cx="933121" cy="549275"/>
          </a:xfrm>
        </p:spPr>
        <p:txBody>
          <a:bodyPr>
            <a:noAutofit/>
          </a:bodyPr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352424" y="4249682"/>
            <a:ext cx="4158000" cy="1695451"/>
          </a:xfrm>
        </p:spPr>
        <p:txBody>
          <a:bodyPr>
            <a:noAutofit/>
          </a:bodyPr>
          <a:lstStyle>
            <a:lvl1pPr marL="0" indent="0">
              <a:spcAft>
                <a:spcPts val="1000"/>
              </a:spcAft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4633095" y="4249682"/>
            <a:ext cx="4158000" cy="1695451"/>
          </a:xfrm>
        </p:spPr>
        <p:txBody>
          <a:bodyPr>
            <a:noAutofit/>
          </a:bodyPr>
          <a:lstStyle>
            <a:lvl1pPr marL="0" indent="0">
              <a:spcAft>
                <a:spcPts val="1000"/>
              </a:spcAft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352424" y="4103519"/>
            <a:ext cx="4158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4625847" y="4103519"/>
            <a:ext cx="4158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3525327" y="4249684"/>
            <a:ext cx="956187" cy="549275"/>
          </a:xfrm>
        </p:spPr>
        <p:txBody>
          <a:bodyPr>
            <a:noAutofit/>
          </a:bodyPr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7844277" y="4248210"/>
            <a:ext cx="933120" cy="549275"/>
          </a:xfrm>
        </p:spPr>
        <p:txBody>
          <a:bodyPr>
            <a:noAutofit/>
          </a:bodyPr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3551096" y="1863918"/>
            <a:ext cx="933680" cy="549275"/>
          </a:xfrm>
        </p:spPr>
        <p:txBody>
          <a:bodyPr>
            <a:noAutofit/>
          </a:bodyPr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1731557"/>
      </p:ext>
    </p:extLst>
  </p:cSld>
  <p:clrMapOvr>
    <a:masterClrMapping/>
  </p:clrMapOvr>
  <p:transition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3208735" y="1705968"/>
            <a:ext cx="272772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352425" y="1705968"/>
            <a:ext cx="2720579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6078132" y="1705968"/>
            <a:ext cx="2721769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208735" y="1851441"/>
            <a:ext cx="2722626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52425" y="1851441"/>
            <a:ext cx="2720579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069807" y="1851441"/>
            <a:ext cx="2721769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14966605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32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07F954-CEF2-4DDC-BC81-4D70CA18237A}" type="datetimeFigureOut">
              <a:rPr lang="en-US" smtClean="0"/>
              <a:t>2/3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A64D54-1854-4A5A-ACAB-732A71048CD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9903666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52425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847575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17475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682525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74201689"/>
      </p:ext>
    </p:extLst>
  </p:cSld>
  <p:clrMapOvr>
    <a:masterClrMapping/>
  </p:clrMapOvr>
  <p:transition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52427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847575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17476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682525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14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8536784" y="6477002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27723756"/>
      </p:ext>
    </p:extLst>
  </p:cSld>
  <p:clrMapOvr>
    <a:masterClrMapping/>
  </p:clrMapOvr>
  <p:transition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350837" y="1665818"/>
            <a:ext cx="4153298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09018795"/>
      </p:ext>
    </p:extLst>
  </p:cSld>
  <p:clrMapOvr>
    <a:masterClrMapping/>
  </p:clrMapOvr>
  <p:transition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84284557"/>
      </p:ext>
    </p:extLst>
  </p:cSld>
  <p:clrMapOvr>
    <a:masterClrMapping/>
  </p:clrMapOvr>
  <p:transition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62623466"/>
      </p:ext>
    </p:extLst>
  </p:cSld>
  <p:clrMapOvr>
    <a:masterClrMapping/>
  </p:clrMapOvr>
  <p:transition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6136" y="140324"/>
            <a:ext cx="6343650" cy="519000"/>
          </a:xfrm>
          <a:prstGeom prst="rect">
            <a:avLst/>
          </a:prstGeom>
        </p:spPr>
        <p:txBody>
          <a:bodyPr anchor="ctr"/>
          <a:lstStyle>
            <a:lvl1pPr>
              <a:defRPr sz="21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5A54A40-03D9-4AD9-8869-0F36C010950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6135" y="957717"/>
            <a:ext cx="8809265" cy="1146854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67689142"/>
      </p:ext>
    </p:extLst>
  </p:cSld>
  <p:clrMapOvr>
    <a:masterClrMapping/>
  </p:clrMapOvr>
  <p:transition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984CEC11-627B-024F-8027-972217259DB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52426" y="1020132"/>
            <a:ext cx="8439150" cy="392111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900"/>
            </a:lvl1pPr>
          </a:lstStyle>
          <a:p>
            <a:pPr marL="171398" lvl="0" indent="-171398">
              <a:lnSpc>
                <a:spcPct val="130000"/>
              </a:lnSpc>
            </a:pPr>
            <a:r>
              <a:rPr lang="en-US"/>
              <a:t>Edit Master text styles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16F5BB4F-DCCF-5642-9CBE-D2DEAF3D691A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52426" y="565723"/>
            <a:ext cx="8439150" cy="45186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2493946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56401" y="5845181"/>
            <a:ext cx="419400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350" b="1">
                <a:solidFill>
                  <a:schemeClr val="bg1"/>
                </a:solidFill>
              </a:defRPr>
            </a:lvl1pPr>
            <a:lvl2pPr marL="0" indent="0" algn="l">
              <a:buNone/>
              <a:defRPr sz="1200" b="0">
                <a:solidFill>
                  <a:schemeClr val="bg1"/>
                </a:solidFill>
              </a:defRPr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56400" y="6362700"/>
            <a:ext cx="4195762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788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352425" y="457761"/>
            <a:ext cx="14985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2545287" y="727595"/>
            <a:ext cx="405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100481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56495" y="5845181"/>
            <a:ext cx="419576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350" b="1">
                <a:solidFill>
                  <a:schemeClr val="tx1"/>
                </a:solidFill>
              </a:defRPr>
            </a:lvl1pPr>
            <a:lvl2pPr marL="0" indent="0" algn="l">
              <a:buNone/>
              <a:defRPr sz="1200" b="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56494" y="6362700"/>
            <a:ext cx="4195762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788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356494" y="457200"/>
            <a:ext cx="14985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</p:grp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2545287" y="727595"/>
            <a:ext cx="405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70078682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157612" y="1530450"/>
            <a:ext cx="2835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2850"/>
              </a:lnSpc>
              <a:defRPr sz="24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56401" y="5845181"/>
            <a:ext cx="419400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56400" y="6362700"/>
            <a:ext cx="4195762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788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352425" y="457761"/>
            <a:ext cx="14985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51023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26" Type="http://schemas.openxmlformats.org/officeDocument/2006/relationships/slideLayout" Target="../slideLayouts/slideLayout38.xml"/><Relationship Id="rId39" Type="http://schemas.openxmlformats.org/officeDocument/2006/relationships/slideLayout" Target="../slideLayouts/slideLayout51.xml"/><Relationship Id="rId21" Type="http://schemas.openxmlformats.org/officeDocument/2006/relationships/slideLayout" Target="../slideLayouts/slideLayout33.xml"/><Relationship Id="rId34" Type="http://schemas.openxmlformats.org/officeDocument/2006/relationships/slideLayout" Target="../slideLayouts/slideLayout46.xml"/><Relationship Id="rId42" Type="http://schemas.openxmlformats.org/officeDocument/2006/relationships/slideLayout" Target="../slideLayouts/slideLayout54.xml"/><Relationship Id="rId7" Type="http://schemas.openxmlformats.org/officeDocument/2006/relationships/slideLayout" Target="../slideLayouts/slideLayout19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36.xml"/><Relationship Id="rId32" Type="http://schemas.openxmlformats.org/officeDocument/2006/relationships/slideLayout" Target="../slideLayouts/slideLayout44.xml"/><Relationship Id="rId37" Type="http://schemas.openxmlformats.org/officeDocument/2006/relationships/slideLayout" Target="../slideLayouts/slideLayout49.xml"/><Relationship Id="rId40" Type="http://schemas.openxmlformats.org/officeDocument/2006/relationships/slideLayout" Target="../slideLayouts/slideLayout52.xml"/><Relationship Id="rId45" Type="http://schemas.openxmlformats.org/officeDocument/2006/relationships/oleObject" Target="../embeddings/oleObject1.bin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23" Type="http://schemas.openxmlformats.org/officeDocument/2006/relationships/slideLayout" Target="../slideLayouts/slideLayout35.xml"/><Relationship Id="rId28" Type="http://schemas.openxmlformats.org/officeDocument/2006/relationships/slideLayout" Target="../slideLayouts/slideLayout40.xml"/><Relationship Id="rId36" Type="http://schemas.openxmlformats.org/officeDocument/2006/relationships/slideLayout" Target="../slideLayouts/slideLayout48.xml"/><Relationship Id="rId10" Type="http://schemas.openxmlformats.org/officeDocument/2006/relationships/slideLayout" Target="../slideLayouts/slideLayout22.xml"/><Relationship Id="rId19" Type="http://schemas.openxmlformats.org/officeDocument/2006/relationships/slideLayout" Target="../slideLayouts/slideLayout31.xml"/><Relationship Id="rId31" Type="http://schemas.openxmlformats.org/officeDocument/2006/relationships/slideLayout" Target="../slideLayouts/slideLayout43.xml"/><Relationship Id="rId44" Type="http://schemas.openxmlformats.org/officeDocument/2006/relationships/tags" Target="../tags/tag1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slideLayout" Target="../slideLayouts/slideLayout34.xml"/><Relationship Id="rId27" Type="http://schemas.openxmlformats.org/officeDocument/2006/relationships/slideLayout" Target="../slideLayouts/slideLayout39.xml"/><Relationship Id="rId30" Type="http://schemas.openxmlformats.org/officeDocument/2006/relationships/slideLayout" Target="../slideLayouts/slideLayout42.xml"/><Relationship Id="rId35" Type="http://schemas.openxmlformats.org/officeDocument/2006/relationships/slideLayout" Target="../slideLayouts/slideLayout47.xml"/><Relationship Id="rId43" Type="http://schemas.openxmlformats.org/officeDocument/2006/relationships/theme" Target="../theme/theme2.xml"/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5" Type="http://schemas.openxmlformats.org/officeDocument/2006/relationships/slideLayout" Target="../slideLayouts/slideLayout37.xml"/><Relationship Id="rId33" Type="http://schemas.openxmlformats.org/officeDocument/2006/relationships/slideLayout" Target="../slideLayouts/slideLayout45.xml"/><Relationship Id="rId38" Type="http://schemas.openxmlformats.org/officeDocument/2006/relationships/slideLayout" Target="../slideLayouts/slideLayout50.xml"/><Relationship Id="rId46" Type="http://schemas.openxmlformats.org/officeDocument/2006/relationships/image" Target="../media/image1.emf"/><Relationship Id="rId20" Type="http://schemas.openxmlformats.org/officeDocument/2006/relationships/slideLayout" Target="../slideLayouts/slideLayout32.xml"/><Relationship Id="rId41" Type="http://schemas.openxmlformats.org/officeDocument/2006/relationships/slideLayout" Target="../slideLayouts/slideLayout53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7.xml"/><Relationship Id="rId18" Type="http://schemas.openxmlformats.org/officeDocument/2006/relationships/slideLayout" Target="../slideLayouts/slideLayout72.xml"/><Relationship Id="rId26" Type="http://schemas.openxmlformats.org/officeDocument/2006/relationships/slideLayout" Target="../slideLayouts/slideLayout80.xml"/><Relationship Id="rId39" Type="http://schemas.openxmlformats.org/officeDocument/2006/relationships/slideLayout" Target="../slideLayouts/slideLayout93.xml"/><Relationship Id="rId21" Type="http://schemas.openxmlformats.org/officeDocument/2006/relationships/slideLayout" Target="../slideLayouts/slideLayout75.xml"/><Relationship Id="rId34" Type="http://schemas.openxmlformats.org/officeDocument/2006/relationships/slideLayout" Target="../slideLayouts/slideLayout88.xml"/><Relationship Id="rId42" Type="http://schemas.openxmlformats.org/officeDocument/2006/relationships/slideLayout" Target="../slideLayouts/slideLayout96.xml"/><Relationship Id="rId7" Type="http://schemas.openxmlformats.org/officeDocument/2006/relationships/slideLayout" Target="../slideLayouts/slideLayout61.xml"/><Relationship Id="rId2" Type="http://schemas.openxmlformats.org/officeDocument/2006/relationships/slideLayout" Target="../slideLayouts/slideLayout56.xml"/><Relationship Id="rId16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83.x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slideLayout" Target="../slideLayouts/slideLayout65.xml"/><Relationship Id="rId24" Type="http://schemas.openxmlformats.org/officeDocument/2006/relationships/slideLayout" Target="../slideLayouts/slideLayout78.xml"/><Relationship Id="rId32" Type="http://schemas.openxmlformats.org/officeDocument/2006/relationships/slideLayout" Target="../slideLayouts/slideLayout86.xml"/><Relationship Id="rId37" Type="http://schemas.openxmlformats.org/officeDocument/2006/relationships/slideLayout" Target="../slideLayouts/slideLayout91.xml"/><Relationship Id="rId40" Type="http://schemas.openxmlformats.org/officeDocument/2006/relationships/slideLayout" Target="../slideLayouts/slideLayout94.xml"/><Relationship Id="rId45" Type="http://schemas.openxmlformats.org/officeDocument/2006/relationships/oleObject" Target="../embeddings/oleObject5.bin"/><Relationship Id="rId5" Type="http://schemas.openxmlformats.org/officeDocument/2006/relationships/slideLayout" Target="../slideLayouts/slideLayout59.xml"/><Relationship Id="rId15" Type="http://schemas.openxmlformats.org/officeDocument/2006/relationships/slideLayout" Target="../slideLayouts/slideLayout69.xml"/><Relationship Id="rId23" Type="http://schemas.openxmlformats.org/officeDocument/2006/relationships/slideLayout" Target="../slideLayouts/slideLayout77.xml"/><Relationship Id="rId28" Type="http://schemas.openxmlformats.org/officeDocument/2006/relationships/slideLayout" Target="../slideLayouts/slideLayout82.xml"/><Relationship Id="rId36" Type="http://schemas.openxmlformats.org/officeDocument/2006/relationships/slideLayout" Target="../slideLayouts/slideLayout90.xml"/><Relationship Id="rId10" Type="http://schemas.openxmlformats.org/officeDocument/2006/relationships/slideLayout" Target="../slideLayouts/slideLayout64.xml"/><Relationship Id="rId19" Type="http://schemas.openxmlformats.org/officeDocument/2006/relationships/slideLayout" Target="../slideLayouts/slideLayout73.xml"/><Relationship Id="rId31" Type="http://schemas.openxmlformats.org/officeDocument/2006/relationships/slideLayout" Target="../slideLayouts/slideLayout85.xml"/><Relationship Id="rId44" Type="http://schemas.openxmlformats.org/officeDocument/2006/relationships/tags" Target="../tags/tag5.xml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Relationship Id="rId14" Type="http://schemas.openxmlformats.org/officeDocument/2006/relationships/slideLayout" Target="../slideLayouts/slideLayout68.xml"/><Relationship Id="rId22" Type="http://schemas.openxmlformats.org/officeDocument/2006/relationships/slideLayout" Target="../slideLayouts/slideLayout76.xml"/><Relationship Id="rId27" Type="http://schemas.openxmlformats.org/officeDocument/2006/relationships/slideLayout" Target="../slideLayouts/slideLayout81.xml"/><Relationship Id="rId30" Type="http://schemas.openxmlformats.org/officeDocument/2006/relationships/slideLayout" Target="../slideLayouts/slideLayout84.xml"/><Relationship Id="rId35" Type="http://schemas.openxmlformats.org/officeDocument/2006/relationships/slideLayout" Target="../slideLayouts/slideLayout89.xml"/><Relationship Id="rId43" Type="http://schemas.openxmlformats.org/officeDocument/2006/relationships/theme" Target="../theme/theme3.xml"/><Relationship Id="rId8" Type="http://schemas.openxmlformats.org/officeDocument/2006/relationships/slideLayout" Target="../slideLayouts/slideLayout62.xml"/><Relationship Id="rId3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6.xml"/><Relationship Id="rId17" Type="http://schemas.openxmlformats.org/officeDocument/2006/relationships/slideLayout" Target="../slideLayouts/slideLayout71.xml"/><Relationship Id="rId25" Type="http://schemas.openxmlformats.org/officeDocument/2006/relationships/slideLayout" Target="../slideLayouts/slideLayout79.xml"/><Relationship Id="rId33" Type="http://schemas.openxmlformats.org/officeDocument/2006/relationships/slideLayout" Target="../slideLayouts/slideLayout87.xml"/><Relationship Id="rId38" Type="http://schemas.openxmlformats.org/officeDocument/2006/relationships/slideLayout" Target="../slideLayouts/slideLayout92.xml"/><Relationship Id="rId46" Type="http://schemas.openxmlformats.org/officeDocument/2006/relationships/image" Target="../media/image1.emf"/><Relationship Id="rId20" Type="http://schemas.openxmlformats.org/officeDocument/2006/relationships/slideLayout" Target="../slideLayouts/slideLayout74.xml"/><Relationship Id="rId41" Type="http://schemas.openxmlformats.org/officeDocument/2006/relationships/slideLayout" Target="../slideLayouts/slideLayout95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09.xml"/><Relationship Id="rId18" Type="http://schemas.openxmlformats.org/officeDocument/2006/relationships/slideLayout" Target="../slideLayouts/slideLayout114.xml"/><Relationship Id="rId26" Type="http://schemas.openxmlformats.org/officeDocument/2006/relationships/slideLayout" Target="../slideLayouts/slideLayout122.xml"/><Relationship Id="rId39" Type="http://schemas.openxmlformats.org/officeDocument/2006/relationships/slideLayout" Target="../slideLayouts/slideLayout135.xml"/><Relationship Id="rId21" Type="http://schemas.openxmlformats.org/officeDocument/2006/relationships/slideLayout" Target="../slideLayouts/slideLayout117.xml"/><Relationship Id="rId34" Type="http://schemas.openxmlformats.org/officeDocument/2006/relationships/slideLayout" Target="../slideLayouts/slideLayout130.xml"/><Relationship Id="rId42" Type="http://schemas.openxmlformats.org/officeDocument/2006/relationships/theme" Target="../theme/theme4.xml"/><Relationship Id="rId7" Type="http://schemas.openxmlformats.org/officeDocument/2006/relationships/slideLayout" Target="../slideLayouts/slideLayout103.xml"/><Relationship Id="rId2" Type="http://schemas.openxmlformats.org/officeDocument/2006/relationships/slideLayout" Target="../slideLayouts/slideLayout98.xml"/><Relationship Id="rId16" Type="http://schemas.openxmlformats.org/officeDocument/2006/relationships/slideLayout" Target="../slideLayouts/slideLayout112.xml"/><Relationship Id="rId29" Type="http://schemas.openxmlformats.org/officeDocument/2006/relationships/slideLayout" Target="../slideLayouts/slideLayout125.xml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1" Type="http://schemas.openxmlformats.org/officeDocument/2006/relationships/slideLayout" Target="../slideLayouts/slideLayout107.xml"/><Relationship Id="rId24" Type="http://schemas.openxmlformats.org/officeDocument/2006/relationships/slideLayout" Target="../slideLayouts/slideLayout120.xml"/><Relationship Id="rId32" Type="http://schemas.openxmlformats.org/officeDocument/2006/relationships/slideLayout" Target="../slideLayouts/slideLayout128.xml"/><Relationship Id="rId37" Type="http://schemas.openxmlformats.org/officeDocument/2006/relationships/slideLayout" Target="../slideLayouts/slideLayout133.xml"/><Relationship Id="rId40" Type="http://schemas.openxmlformats.org/officeDocument/2006/relationships/slideLayout" Target="../slideLayouts/slideLayout136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101.xml"/><Relationship Id="rId15" Type="http://schemas.openxmlformats.org/officeDocument/2006/relationships/slideLayout" Target="../slideLayouts/slideLayout111.xml"/><Relationship Id="rId23" Type="http://schemas.openxmlformats.org/officeDocument/2006/relationships/slideLayout" Target="../slideLayouts/slideLayout119.xml"/><Relationship Id="rId28" Type="http://schemas.openxmlformats.org/officeDocument/2006/relationships/slideLayout" Target="../slideLayouts/slideLayout124.xml"/><Relationship Id="rId36" Type="http://schemas.openxmlformats.org/officeDocument/2006/relationships/slideLayout" Target="../slideLayouts/slideLayout132.xml"/><Relationship Id="rId10" Type="http://schemas.openxmlformats.org/officeDocument/2006/relationships/slideLayout" Target="../slideLayouts/slideLayout106.xml"/><Relationship Id="rId19" Type="http://schemas.openxmlformats.org/officeDocument/2006/relationships/slideLayout" Target="../slideLayouts/slideLayout115.xml"/><Relationship Id="rId31" Type="http://schemas.openxmlformats.org/officeDocument/2006/relationships/slideLayout" Target="../slideLayouts/slideLayout127.xml"/><Relationship Id="rId44" Type="http://schemas.openxmlformats.org/officeDocument/2006/relationships/oleObject" Target="../embeddings/oleObject9.bin"/><Relationship Id="rId4" Type="http://schemas.openxmlformats.org/officeDocument/2006/relationships/slideLayout" Target="../slideLayouts/slideLayout100.xml"/><Relationship Id="rId9" Type="http://schemas.openxmlformats.org/officeDocument/2006/relationships/slideLayout" Target="../slideLayouts/slideLayout105.xml"/><Relationship Id="rId14" Type="http://schemas.openxmlformats.org/officeDocument/2006/relationships/slideLayout" Target="../slideLayouts/slideLayout110.xml"/><Relationship Id="rId22" Type="http://schemas.openxmlformats.org/officeDocument/2006/relationships/slideLayout" Target="../slideLayouts/slideLayout118.xml"/><Relationship Id="rId27" Type="http://schemas.openxmlformats.org/officeDocument/2006/relationships/slideLayout" Target="../slideLayouts/slideLayout123.xml"/><Relationship Id="rId30" Type="http://schemas.openxmlformats.org/officeDocument/2006/relationships/slideLayout" Target="../slideLayouts/slideLayout126.xml"/><Relationship Id="rId35" Type="http://schemas.openxmlformats.org/officeDocument/2006/relationships/slideLayout" Target="../slideLayouts/slideLayout131.xml"/><Relationship Id="rId43" Type="http://schemas.openxmlformats.org/officeDocument/2006/relationships/tags" Target="../tags/tag9.xml"/><Relationship Id="rId8" Type="http://schemas.openxmlformats.org/officeDocument/2006/relationships/slideLayout" Target="../slideLayouts/slideLayout104.xml"/><Relationship Id="rId3" Type="http://schemas.openxmlformats.org/officeDocument/2006/relationships/slideLayout" Target="../slideLayouts/slideLayout99.xml"/><Relationship Id="rId12" Type="http://schemas.openxmlformats.org/officeDocument/2006/relationships/slideLayout" Target="../slideLayouts/slideLayout108.xml"/><Relationship Id="rId17" Type="http://schemas.openxmlformats.org/officeDocument/2006/relationships/slideLayout" Target="../slideLayouts/slideLayout113.xml"/><Relationship Id="rId25" Type="http://schemas.openxmlformats.org/officeDocument/2006/relationships/slideLayout" Target="../slideLayouts/slideLayout121.xml"/><Relationship Id="rId33" Type="http://schemas.openxmlformats.org/officeDocument/2006/relationships/slideLayout" Target="../slideLayouts/slideLayout129.xml"/><Relationship Id="rId38" Type="http://schemas.openxmlformats.org/officeDocument/2006/relationships/slideLayout" Target="../slideLayouts/slideLayout134.xml"/><Relationship Id="rId20" Type="http://schemas.openxmlformats.org/officeDocument/2006/relationships/slideLayout" Target="../slideLayouts/slideLayout116.xml"/><Relationship Id="rId41" Type="http://schemas.openxmlformats.org/officeDocument/2006/relationships/slideLayout" Target="../slideLayouts/slideLayout137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50.xml"/><Relationship Id="rId18" Type="http://schemas.openxmlformats.org/officeDocument/2006/relationships/slideLayout" Target="../slideLayouts/slideLayout155.xml"/><Relationship Id="rId26" Type="http://schemas.openxmlformats.org/officeDocument/2006/relationships/slideLayout" Target="../slideLayouts/slideLayout163.xml"/><Relationship Id="rId39" Type="http://schemas.openxmlformats.org/officeDocument/2006/relationships/slideLayout" Target="../slideLayouts/slideLayout176.xml"/><Relationship Id="rId21" Type="http://schemas.openxmlformats.org/officeDocument/2006/relationships/slideLayout" Target="../slideLayouts/slideLayout158.xml"/><Relationship Id="rId34" Type="http://schemas.openxmlformats.org/officeDocument/2006/relationships/slideLayout" Target="../slideLayouts/slideLayout171.xml"/><Relationship Id="rId42" Type="http://schemas.openxmlformats.org/officeDocument/2006/relationships/theme" Target="../theme/theme5.xml"/><Relationship Id="rId7" Type="http://schemas.openxmlformats.org/officeDocument/2006/relationships/slideLayout" Target="../slideLayouts/slideLayout144.xml"/><Relationship Id="rId2" Type="http://schemas.openxmlformats.org/officeDocument/2006/relationships/slideLayout" Target="../slideLayouts/slideLayout139.xml"/><Relationship Id="rId16" Type="http://schemas.openxmlformats.org/officeDocument/2006/relationships/slideLayout" Target="../slideLayouts/slideLayout153.xml"/><Relationship Id="rId29" Type="http://schemas.openxmlformats.org/officeDocument/2006/relationships/slideLayout" Target="../slideLayouts/slideLayout166.xml"/><Relationship Id="rId1" Type="http://schemas.openxmlformats.org/officeDocument/2006/relationships/slideLayout" Target="../slideLayouts/slideLayout138.xml"/><Relationship Id="rId6" Type="http://schemas.openxmlformats.org/officeDocument/2006/relationships/slideLayout" Target="../slideLayouts/slideLayout143.xml"/><Relationship Id="rId11" Type="http://schemas.openxmlformats.org/officeDocument/2006/relationships/slideLayout" Target="../slideLayouts/slideLayout148.xml"/><Relationship Id="rId24" Type="http://schemas.openxmlformats.org/officeDocument/2006/relationships/slideLayout" Target="../slideLayouts/slideLayout161.xml"/><Relationship Id="rId32" Type="http://schemas.openxmlformats.org/officeDocument/2006/relationships/slideLayout" Target="../slideLayouts/slideLayout169.xml"/><Relationship Id="rId37" Type="http://schemas.openxmlformats.org/officeDocument/2006/relationships/slideLayout" Target="../slideLayouts/slideLayout174.xml"/><Relationship Id="rId40" Type="http://schemas.openxmlformats.org/officeDocument/2006/relationships/slideLayout" Target="../slideLayouts/slideLayout177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142.xml"/><Relationship Id="rId15" Type="http://schemas.openxmlformats.org/officeDocument/2006/relationships/slideLayout" Target="../slideLayouts/slideLayout152.xml"/><Relationship Id="rId23" Type="http://schemas.openxmlformats.org/officeDocument/2006/relationships/slideLayout" Target="../slideLayouts/slideLayout160.xml"/><Relationship Id="rId28" Type="http://schemas.openxmlformats.org/officeDocument/2006/relationships/slideLayout" Target="../slideLayouts/slideLayout165.xml"/><Relationship Id="rId36" Type="http://schemas.openxmlformats.org/officeDocument/2006/relationships/slideLayout" Target="../slideLayouts/slideLayout173.xml"/><Relationship Id="rId10" Type="http://schemas.openxmlformats.org/officeDocument/2006/relationships/slideLayout" Target="../slideLayouts/slideLayout147.xml"/><Relationship Id="rId19" Type="http://schemas.openxmlformats.org/officeDocument/2006/relationships/slideLayout" Target="../slideLayouts/slideLayout156.xml"/><Relationship Id="rId31" Type="http://schemas.openxmlformats.org/officeDocument/2006/relationships/slideLayout" Target="../slideLayouts/slideLayout168.xml"/><Relationship Id="rId44" Type="http://schemas.openxmlformats.org/officeDocument/2006/relationships/oleObject" Target="../embeddings/oleObject9.bin"/><Relationship Id="rId4" Type="http://schemas.openxmlformats.org/officeDocument/2006/relationships/slideLayout" Target="../slideLayouts/slideLayout141.xml"/><Relationship Id="rId9" Type="http://schemas.openxmlformats.org/officeDocument/2006/relationships/slideLayout" Target="../slideLayouts/slideLayout146.xml"/><Relationship Id="rId14" Type="http://schemas.openxmlformats.org/officeDocument/2006/relationships/slideLayout" Target="../slideLayouts/slideLayout151.xml"/><Relationship Id="rId22" Type="http://schemas.openxmlformats.org/officeDocument/2006/relationships/slideLayout" Target="../slideLayouts/slideLayout159.xml"/><Relationship Id="rId27" Type="http://schemas.openxmlformats.org/officeDocument/2006/relationships/slideLayout" Target="../slideLayouts/slideLayout164.xml"/><Relationship Id="rId30" Type="http://schemas.openxmlformats.org/officeDocument/2006/relationships/slideLayout" Target="../slideLayouts/slideLayout167.xml"/><Relationship Id="rId35" Type="http://schemas.openxmlformats.org/officeDocument/2006/relationships/slideLayout" Target="../slideLayouts/slideLayout172.xml"/><Relationship Id="rId43" Type="http://schemas.openxmlformats.org/officeDocument/2006/relationships/tags" Target="../tags/tag13.xml"/><Relationship Id="rId8" Type="http://schemas.openxmlformats.org/officeDocument/2006/relationships/slideLayout" Target="../slideLayouts/slideLayout145.xml"/><Relationship Id="rId3" Type="http://schemas.openxmlformats.org/officeDocument/2006/relationships/slideLayout" Target="../slideLayouts/slideLayout140.xml"/><Relationship Id="rId12" Type="http://schemas.openxmlformats.org/officeDocument/2006/relationships/slideLayout" Target="../slideLayouts/slideLayout149.xml"/><Relationship Id="rId17" Type="http://schemas.openxmlformats.org/officeDocument/2006/relationships/slideLayout" Target="../slideLayouts/slideLayout154.xml"/><Relationship Id="rId25" Type="http://schemas.openxmlformats.org/officeDocument/2006/relationships/slideLayout" Target="../slideLayouts/slideLayout162.xml"/><Relationship Id="rId33" Type="http://schemas.openxmlformats.org/officeDocument/2006/relationships/slideLayout" Target="../slideLayouts/slideLayout170.xml"/><Relationship Id="rId38" Type="http://schemas.openxmlformats.org/officeDocument/2006/relationships/slideLayout" Target="../slideLayouts/slideLayout175.xml"/><Relationship Id="rId20" Type="http://schemas.openxmlformats.org/officeDocument/2006/relationships/slideLayout" Target="../slideLayouts/slideLayout157.xml"/><Relationship Id="rId41" Type="http://schemas.openxmlformats.org/officeDocument/2006/relationships/slideLayout" Target="../slideLayouts/slideLayout178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91.xml"/><Relationship Id="rId18" Type="http://schemas.openxmlformats.org/officeDocument/2006/relationships/slideLayout" Target="../slideLayouts/slideLayout196.xml"/><Relationship Id="rId26" Type="http://schemas.openxmlformats.org/officeDocument/2006/relationships/slideLayout" Target="../slideLayouts/slideLayout204.xml"/><Relationship Id="rId39" Type="http://schemas.openxmlformats.org/officeDocument/2006/relationships/slideLayout" Target="../slideLayouts/slideLayout217.xml"/><Relationship Id="rId21" Type="http://schemas.openxmlformats.org/officeDocument/2006/relationships/slideLayout" Target="../slideLayouts/slideLayout199.xml"/><Relationship Id="rId34" Type="http://schemas.openxmlformats.org/officeDocument/2006/relationships/slideLayout" Target="../slideLayouts/slideLayout212.xml"/><Relationship Id="rId42" Type="http://schemas.openxmlformats.org/officeDocument/2006/relationships/theme" Target="../theme/theme6.xml"/><Relationship Id="rId7" Type="http://schemas.openxmlformats.org/officeDocument/2006/relationships/slideLayout" Target="../slideLayouts/slideLayout185.xml"/><Relationship Id="rId2" Type="http://schemas.openxmlformats.org/officeDocument/2006/relationships/slideLayout" Target="../slideLayouts/slideLayout180.xml"/><Relationship Id="rId16" Type="http://schemas.openxmlformats.org/officeDocument/2006/relationships/slideLayout" Target="../slideLayouts/slideLayout194.xml"/><Relationship Id="rId29" Type="http://schemas.openxmlformats.org/officeDocument/2006/relationships/slideLayout" Target="../slideLayouts/slideLayout207.xml"/><Relationship Id="rId1" Type="http://schemas.openxmlformats.org/officeDocument/2006/relationships/slideLayout" Target="../slideLayouts/slideLayout179.xml"/><Relationship Id="rId6" Type="http://schemas.openxmlformats.org/officeDocument/2006/relationships/slideLayout" Target="../slideLayouts/slideLayout184.xml"/><Relationship Id="rId11" Type="http://schemas.openxmlformats.org/officeDocument/2006/relationships/slideLayout" Target="../slideLayouts/slideLayout189.xml"/><Relationship Id="rId24" Type="http://schemas.openxmlformats.org/officeDocument/2006/relationships/slideLayout" Target="../slideLayouts/slideLayout202.xml"/><Relationship Id="rId32" Type="http://schemas.openxmlformats.org/officeDocument/2006/relationships/slideLayout" Target="../slideLayouts/slideLayout210.xml"/><Relationship Id="rId37" Type="http://schemas.openxmlformats.org/officeDocument/2006/relationships/slideLayout" Target="../slideLayouts/slideLayout215.xml"/><Relationship Id="rId40" Type="http://schemas.openxmlformats.org/officeDocument/2006/relationships/slideLayout" Target="../slideLayouts/slideLayout218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183.xml"/><Relationship Id="rId15" Type="http://schemas.openxmlformats.org/officeDocument/2006/relationships/slideLayout" Target="../slideLayouts/slideLayout193.xml"/><Relationship Id="rId23" Type="http://schemas.openxmlformats.org/officeDocument/2006/relationships/slideLayout" Target="../slideLayouts/slideLayout201.xml"/><Relationship Id="rId28" Type="http://schemas.openxmlformats.org/officeDocument/2006/relationships/slideLayout" Target="../slideLayouts/slideLayout206.xml"/><Relationship Id="rId36" Type="http://schemas.openxmlformats.org/officeDocument/2006/relationships/slideLayout" Target="../slideLayouts/slideLayout214.xml"/><Relationship Id="rId10" Type="http://schemas.openxmlformats.org/officeDocument/2006/relationships/slideLayout" Target="../slideLayouts/slideLayout188.xml"/><Relationship Id="rId19" Type="http://schemas.openxmlformats.org/officeDocument/2006/relationships/slideLayout" Target="../slideLayouts/slideLayout197.xml"/><Relationship Id="rId31" Type="http://schemas.openxmlformats.org/officeDocument/2006/relationships/slideLayout" Target="../slideLayouts/slideLayout209.xml"/><Relationship Id="rId44" Type="http://schemas.openxmlformats.org/officeDocument/2006/relationships/oleObject" Target="../embeddings/oleObject9.bin"/><Relationship Id="rId4" Type="http://schemas.openxmlformats.org/officeDocument/2006/relationships/slideLayout" Target="../slideLayouts/slideLayout182.xml"/><Relationship Id="rId9" Type="http://schemas.openxmlformats.org/officeDocument/2006/relationships/slideLayout" Target="../slideLayouts/slideLayout187.xml"/><Relationship Id="rId14" Type="http://schemas.openxmlformats.org/officeDocument/2006/relationships/slideLayout" Target="../slideLayouts/slideLayout192.xml"/><Relationship Id="rId22" Type="http://schemas.openxmlformats.org/officeDocument/2006/relationships/slideLayout" Target="../slideLayouts/slideLayout200.xml"/><Relationship Id="rId27" Type="http://schemas.openxmlformats.org/officeDocument/2006/relationships/slideLayout" Target="../slideLayouts/slideLayout205.xml"/><Relationship Id="rId30" Type="http://schemas.openxmlformats.org/officeDocument/2006/relationships/slideLayout" Target="../slideLayouts/slideLayout208.xml"/><Relationship Id="rId35" Type="http://schemas.openxmlformats.org/officeDocument/2006/relationships/slideLayout" Target="../slideLayouts/slideLayout213.xml"/><Relationship Id="rId43" Type="http://schemas.openxmlformats.org/officeDocument/2006/relationships/tags" Target="../tags/tag17.xml"/><Relationship Id="rId8" Type="http://schemas.openxmlformats.org/officeDocument/2006/relationships/slideLayout" Target="../slideLayouts/slideLayout186.xml"/><Relationship Id="rId3" Type="http://schemas.openxmlformats.org/officeDocument/2006/relationships/slideLayout" Target="../slideLayouts/slideLayout181.xml"/><Relationship Id="rId12" Type="http://schemas.openxmlformats.org/officeDocument/2006/relationships/slideLayout" Target="../slideLayouts/slideLayout190.xml"/><Relationship Id="rId17" Type="http://schemas.openxmlformats.org/officeDocument/2006/relationships/slideLayout" Target="../slideLayouts/slideLayout195.xml"/><Relationship Id="rId25" Type="http://schemas.openxmlformats.org/officeDocument/2006/relationships/slideLayout" Target="../slideLayouts/slideLayout203.xml"/><Relationship Id="rId33" Type="http://schemas.openxmlformats.org/officeDocument/2006/relationships/slideLayout" Target="../slideLayouts/slideLayout211.xml"/><Relationship Id="rId38" Type="http://schemas.openxmlformats.org/officeDocument/2006/relationships/slideLayout" Target="../slideLayouts/slideLayout216.xml"/><Relationship Id="rId20" Type="http://schemas.openxmlformats.org/officeDocument/2006/relationships/slideLayout" Target="../slideLayouts/slideLayout198.xml"/><Relationship Id="rId41" Type="http://schemas.openxmlformats.org/officeDocument/2006/relationships/slideLayout" Target="../slideLayouts/slideLayout219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32.xml"/><Relationship Id="rId18" Type="http://schemas.openxmlformats.org/officeDocument/2006/relationships/slideLayout" Target="../slideLayouts/slideLayout237.xml"/><Relationship Id="rId26" Type="http://schemas.openxmlformats.org/officeDocument/2006/relationships/slideLayout" Target="../slideLayouts/slideLayout245.xml"/><Relationship Id="rId39" Type="http://schemas.openxmlformats.org/officeDocument/2006/relationships/slideLayout" Target="../slideLayouts/slideLayout258.xml"/><Relationship Id="rId21" Type="http://schemas.openxmlformats.org/officeDocument/2006/relationships/slideLayout" Target="../slideLayouts/slideLayout240.xml"/><Relationship Id="rId34" Type="http://schemas.openxmlformats.org/officeDocument/2006/relationships/slideLayout" Target="../slideLayouts/slideLayout253.xml"/><Relationship Id="rId42" Type="http://schemas.openxmlformats.org/officeDocument/2006/relationships/theme" Target="../theme/theme7.xml"/><Relationship Id="rId7" Type="http://schemas.openxmlformats.org/officeDocument/2006/relationships/slideLayout" Target="../slideLayouts/slideLayout226.xml"/><Relationship Id="rId2" Type="http://schemas.openxmlformats.org/officeDocument/2006/relationships/slideLayout" Target="../slideLayouts/slideLayout221.xml"/><Relationship Id="rId16" Type="http://schemas.openxmlformats.org/officeDocument/2006/relationships/slideLayout" Target="../slideLayouts/slideLayout235.xml"/><Relationship Id="rId29" Type="http://schemas.openxmlformats.org/officeDocument/2006/relationships/slideLayout" Target="../slideLayouts/slideLayout248.xml"/><Relationship Id="rId1" Type="http://schemas.openxmlformats.org/officeDocument/2006/relationships/slideLayout" Target="../slideLayouts/slideLayout220.xml"/><Relationship Id="rId6" Type="http://schemas.openxmlformats.org/officeDocument/2006/relationships/slideLayout" Target="../slideLayouts/slideLayout225.xml"/><Relationship Id="rId11" Type="http://schemas.openxmlformats.org/officeDocument/2006/relationships/slideLayout" Target="../slideLayouts/slideLayout230.xml"/><Relationship Id="rId24" Type="http://schemas.openxmlformats.org/officeDocument/2006/relationships/slideLayout" Target="../slideLayouts/slideLayout243.xml"/><Relationship Id="rId32" Type="http://schemas.openxmlformats.org/officeDocument/2006/relationships/slideLayout" Target="../slideLayouts/slideLayout251.xml"/><Relationship Id="rId37" Type="http://schemas.openxmlformats.org/officeDocument/2006/relationships/slideLayout" Target="../slideLayouts/slideLayout256.xml"/><Relationship Id="rId40" Type="http://schemas.openxmlformats.org/officeDocument/2006/relationships/slideLayout" Target="../slideLayouts/slideLayout259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224.xml"/><Relationship Id="rId15" Type="http://schemas.openxmlformats.org/officeDocument/2006/relationships/slideLayout" Target="../slideLayouts/slideLayout234.xml"/><Relationship Id="rId23" Type="http://schemas.openxmlformats.org/officeDocument/2006/relationships/slideLayout" Target="../slideLayouts/slideLayout242.xml"/><Relationship Id="rId28" Type="http://schemas.openxmlformats.org/officeDocument/2006/relationships/slideLayout" Target="../slideLayouts/slideLayout247.xml"/><Relationship Id="rId36" Type="http://schemas.openxmlformats.org/officeDocument/2006/relationships/slideLayout" Target="../slideLayouts/slideLayout255.xml"/><Relationship Id="rId10" Type="http://schemas.openxmlformats.org/officeDocument/2006/relationships/slideLayout" Target="../slideLayouts/slideLayout229.xml"/><Relationship Id="rId19" Type="http://schemas.openxmlformats.org/officeDocument/2006/relationships/slideLayout" Target="../slideLayouts/slideLayout238.xml"/><Relationship Id="rId31" Type="http://schemas.openxmlformats.org/officeDocument/2006/relationships/slideLayout" Target="../slideLayouts/slideLayout250.xml"/><Relationship Id="rId44" Type="http://schemas.openxmlformats.org/officeDocument/2006/relationships/oleObject" Target="../embeddings/oleObject9.bin"/><Relationship Id="rId4" Type="http://schemas.openxmlformats.org/officeDocument/2006/relationships/slideLayout" Target="../slideLayouts/slideLayout223.xml"/><Relationship Id="rId9" Type="http://schemas.openxmlformats.org/officeDocument/2006/relationships/slideLayout" Target="../slideLayouts/slideLayout228.xml"/><Relationship Id="rId14" Type="http://schemas.openxmlformats.org/officeDocument/2006/relationships/slideLayout" Target="../slideLayouts/slideLayout233.xml"/><Relationship Id="rId22" Type="http://schemas.openxmlformats.org/officeDocument/2006/relationships/slideLayout" Target="../slideLayouts/slideLayout241.xml"/><Relationship Id="rId27" Type="http://schemas.openxmlformats.org/officeDocument/2006/relationships/slideLayout" Target="../slideLayouts/slideLayout246.xml"/><Relationship Id="rId30" Type="http://schemas.openxmlformats.org/officeDocument/2006/relationships/slideLayout" Target="../slideLayouts/slideLayout249.xml"/><Relationship Id="rId35" Type="http://schemas.openxmlformats.org/officeDocument/2006/relationships/slideLayout" Target="../slideLayouts/slideLayout254.xml"/><Relationship Id="rId43" Type="http://schemas.openxmlformats.org/officeDocument/2006/relationships/tags" Target="../tags/tag21.xml"/><Relationship Id="rId8" Type="http://schemas.openxmlformats.org/officeDocument/2006/relationships/slideLayout" Target="../slideLayouts/slideLayout227.xml"/><Relationship Id="rId3" Type="http://schemas.openxmlformats.org/officeDocument/2006/relationships/slideLayout" Target="../slideLayouts/slideLayout222.xml"/><Relationship Id="rId12" Type="http://schemas.openxmlformats.org/officeDocument/2006/relationships/slideLayout" Target="../slideLayouts/slideLayout231.xml"/><Relationship Id="rId17" Type="http://schemas.openxmlformats.org/officeDocument/2006/relationships/slideLayout" Target="../slideLayouts/slideLayout236.xml"/><Relationship Id="rId25" Type="http://schemas.openxmlformats.org/officeDocument/2006/relationships/slideLayout" Target="../slideLayouts/slideLayout244.xml"/><Relationship Id="rId33" Type="http://schemas.openxmlformats.org/officeDocument/2006/relationships/slideLayout" Target="../slideLayouts/slideLayout252.xml"/><Relationship Id="rId38" Type="http://schemas.openxmlformats.org/officeDocument/2006/relationships/slideLayout" Target="../slideLayouts/slideLayout257.xml"/><Relationship Id="rId20" Type="http://schemas.openxmlformats.org/officeDocument/2006/relationships/slideLayout" Target="../slideLayouts/slideLayout239.xml"/><Relationship Id="rId41" Type="http://schemas.openxmlformats.org/officeDocument/2006/relationships/slideLayout" Target="../slideLayouts/slideLayout260.xml"/></Relationships>
</file>

<file path=ppt/slideMasters/_rels/slideMaster8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73.xml"/><Relationship Id="rId18" Type="http://schemas.openxmlformats.org/officeDocument/2006/relationships/slideLayout" Target="../slideLayouts/slideLayout278.xml"/><Relationship Id="rId26" Type="http://schemas.openxmlformats.org/officeDocument/2006/relationships/slideLayout" Target="../slideLayouts/slideLayout286.xml"/><Relationship Id="rId39" Type="http://schemas.openxmlformats.org/officeDocument/2006/relationships/slideLayout" Target="../slideLayouts/slideLayout299.xml"/><Relationship Id="rId21" Type="http://schemas.openxmlformats.org/officeDocument/2006/relationships/slideLayout" Target="../slideLayouts/slideLayout281.xml"/><Relationship Id="rId34" Type="http://schemas.openxmlformats.org/officeDocument/2006/relationships/slideLayout" Target="../slideLayouts/slideLayout294.xml"/><Relationship Id="rId42" Type="http://schemas.openxmlformats.org/officeDocument/2006/relationships/theme" Target="../theme/theme8.xml"/><Relationship Id="rId7" Type="http://schemas.openxmlformats.org/officeDocument/2006/relationships/slideLayout" Target="../slideLayouts/slideLayout267.xml"/><Relationship Id="rId2" Type="http://schemas.openxmlformats.org/officeDocument/2006/relationships/slideLayout" Target="../slideLayouts/slideLayout262.xml"/><Relationship Id="rId16" Type="http://schemas.openxmlformats.org/officeDocument/2006/relationships/slideLayout" Target="../slideLayouts/slideLayout276.xml"/><Relationship Id="rId29" Type="http://schemas.openxmlformats.org/officeDocument/2006/relationships/slideLayout" Target="../slideLayouts/slideLayout289.xml"/><Relationship Id="rId1" Type="http://schemas.openxmlformats.org/officeDocument/2006/relationships/slideLayout" Target="../slideLayouts/slideLayout261.xml"/><Relationship Id="rId6" Type="http://schemas.openxmlformats.org/officeDocument/2006/relationships/slideLayout" Target="../slideLayouts/slideLayout266.xml"/><Relationship Id="rId11" Type="http://schemas.openxmlformats.org/officeDocument/2006/relationships/slideLayout" Target="../slideLayouts/slideLayout271.xml"/><Relationship Id="rId24" Type="http://schemas.openxmlformats.org/officeDocument/2006/relationships/slideLayout" Target="../slideLayouts/slideLayout284.xml"/><Relationship Id="rId32" Type="http://schemas.openxmlformats.org/officeDocument/2006/relationships/slideLayout" Target="../slideLayouts/slideLayout292.xml"/><Relationship Id="rId37" Type="http://schemas.openxmlformats.org/officeDocument/2006/relationships/slideLayout" Target="../slideLayouts/slideLayout297.xml"/><Relationship Id="rId40" Type="http://schemas.openxmlformats.org/officeDocument/2006/relationships/slideLayout" Target="../slideLayouts/slideLayout300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265.xml"/><Relationship Id="rId15" Type="http://schemas.openxmlformats.org/officeDocument/2006/relationships/slideLayout" Target="../slideLayouts/slideLayout275.xml"/><Relationship Id="rId23" Type="http://schemas.openxmlformats.org/officeDocument/2006/relationships/slideLayout" Target="../slideLayouts/slideLayout283.xml"/><Relationship Id="rId28" Type="http://schemas.openxmlformats.org/officeDocument/2006/relationships/slideLayout" Target="../slideLayouts/slideLayout288.xml"/><Relationship Id="rId36" Type="http://schemas.openxmlformats.org/officeDocument/2006/relationships/slideLayout" Target="../slideLayouts/slideLayout296.xml"/><Relationship Id="rId10" Type="http://schemas.openxmlformats.org/officeDocument/2006/relationships/slideLayout" Target="../slideLayouts/slideLayout270.xml"/><Relationship Id="rId19" Type="http://schemas.openxmlformats.org/officeDocument/2006/relationships/slideLayout" Target="../slideLayouts/slideLayout279.xml"/><Relationship Id="rId31" Type="http://schemas.openxmlformats.org/officeDocument/2006/relationships/slideLayout" Target="../slideLayouts/slideLayout291.xml"/><Relationship Id="rId44" Type="http://schemas.openxmlformats.org/officeDocument/2006/relationships/oleObject" Target="../embeddings/oleObject9.bin"/><Relationship Id="rId4" Type="http://schemas.openxmlformats.org/officeDocument/2006/relationships/slideLayout" Target="../slideLayouts/slideLayout264.xml"/><Relationship Id="rId9" Type="http://schemas.openxmlformats.org/officeDocument/2006/relationships/slideLayout" Target="../slideLayouts/slideLayout269.xml"/><Relationship Id="rId14" Type="http://schemas.openxmlformats.org/officeDocument/2006/relationships/slideLayout" Target="../slideLayouts/slideLayout274.xml"/><Relationship Id="rId22" Type="http://schemas.openxmlformats.org/officeDocument/2006/relationships/slideLayout" Target="../slideLayouts/slideLayout282.xml"/><Relationship Id="rId27" Type="http://schemas.openxmlformats.org/officeDocument/2006/relationships/slideLayout" Target="../slideLayouts/slideLayout287.xml"/><Relationship Id="rId30" Type="http://schemas.openxmlformats.org/officeDocument/2006/relationships/slideLayout" Target="../slideLayouts/slideLayout290.xml"/><Relationship Id="rId35" Type="http://schemas.openxmlformats.org/officeDocument/2006/relationships/slideLayout" Target="../slideLayouts/slideLayout295.xml"/><Relationship Id="rId43" Type="http://schemas.openxmlformats.org/officeDocument/2006/relationships/tags" Target="../tags/tag25.xml"/><Relationship Id="rId8" Type="http://schemas.openxmlformats.org/officeDocument/2006/relationships/slideLayout" Target="../slideLayouts/slideLayout268.xml"/><Relationship Id="rId3" Type="http://schemas.openxmlformats.org/officeDocument/2006/relationships/slideLayout" Target="../slideLayouts/slideLayout263.xml"/><Relationship Id="rId12" Type="http://schemas.openxmlformats.org/officeDocument/2006/relationships/slideLayout" Target="../slideLayouts/slideLayout272.xml"/><Relationship Id="rId17" Type="http://schemas.openxmlformats.org/officeDocument/2006/relationships/slideLayout" Target="../slideLayouts/slideLayout277.xml"/><Relationship Id="rId25" Type="http://schemas.openxmlformats.org/officeDocument/2006/relationships/slideLayout" Target="../slideLayouts/slideLayout285.xml"/><Relationship Id="rId33" Type="http://schemas.openxmlformats.org/officeDocument/2006/relationships/slideLayout" Target="../slideLayouts/slideLayout293.xml"/><Relationship Id="rId38" Type="http://schemas.openxmlformats.org/officeDocument/2006/relationships/slideLayout" Target="../slideLayouts/slideLayout298.xml"/><Relationship Id="rId20" Type="http://schemas.openxmlformats.org/officeDocument/2006/relationships/slideLayout" Target="../slideLayouts/slideLayout280.xml"/><Relationship Id="rId41" Type="http://schemas.openxmlformats.org/officeDocument/2006/relationships/slideLayout" Target="../slideLayouts/slideLayout30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9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7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907F954-CEF2-4DDC-BC81-4D70CA18237A}" type="datetimeFigureOut">
              <a:rPr lang="en-US" smtClean="0"/>
              <a:t>2/3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7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7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A64D54-1854-4A5A-ACAB-732A71048CD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37952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763" r:id="rId12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4"/>
            </p:custDataLst>
            <p:extLst>
              <p:ext uri="{D42A27DB-BD31-4B8C-83A1-F6EECF244321}">
                <p14:modId xmlns:p14="http://schemas.microsoft.com/office/powerpoint/2010/main" val="1623832440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5" imgW="270" imgH="270" progId="TCLayout.ActiveDocument.1">
                  <p:embed/>
                </p:oleObj>
              </mc:Choice>
              <mc:Fallback>
                <p:oleObj name="think-cell Slide" r:id="rId4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52425" y="402587"/>
            <a:ext cx="843915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352425" y="1665290"/>
            <a:ext cx="843915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tx1"/>
                </a:solidFill>
              </a:rPr>
              <a:t>Blockchain Guild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352426" y="6477001"/>
            <a:ext cx="4016375" cy="100027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0" indent="0" algn="l" defTabSz="914378" rtl="0" eaLnBrk="1" latinLnBrk="0" hangingPunct="1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b="0" noProof="0">
                <a:solidFill>
                  <a:schemeClr val="tx1"/>
                </a:solidFill>
                <a:latin typeface="+mn-lt"/>
              </a:rPr>
              <a:t>Copyright © 2020 Deloitte Development LL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58215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11657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  <p:sldLayoutId id="2147483698" r:id="rId21"/>
    <p:sldLayoutId id="2147483699" r:id="rId22"/>
    <p:sldLayoutId id="2147483700" r:id="rId23"/>
    <p:sldLayoutId id="2147483701" r:id="rId24"/>
    <p:sldLayoutId id="2147483702" r:id="rId25"/>
    <p:sldLayoutId id="2147483703" r:id="rId26"/>
    <p:sldLayoutId id="2147483704" r:id="rId27"/>
    <p:sldLayoutId id="2147483705" r:id="rId28"/>
    <p:sldLayoutId id="2147483706" r:id="rId29"/>
    <p:sldLayoutId id="2147483707" r:id="rId30"/>
    <p:sldLayoutId id="2147483708" r:id="rId31"/>
    <p:sldLayoutId id="2147483709" r:id="rId32"/>
    <p:sldLayoutId id="2147483710" r:id="rId33"/>
    <p:sldLayoutId id="2147483711" r:id="rId34"/>
    <p:sldLayoutId id="2147483712" r:id="rId35"/>
    <p:sldLayoutId id="2147483713" r:id="rId36"/>
    <p:sldLayoutId id="2147483714" r:id="rId37"/>
    <p:sldLayoutId id="2147483715" r:id="rId38"/>
    <p:sldLayoutId id="2147483716" r:id="rId39"/>
    <p:sldLayoutId id="2147483717" r:id="rId40"/>
    <p:sldLayoutId id="2147483718" r:id="rId41"/>
    <p:sldLayoutId id="2147483719" r:id="rId42"/>
  </p:sldLayoutIdLst>
  <p:transition>
    <p:fade/>
  </p:transition>
  <p:hf hdr="0" dt="0"/>
  <p:txStyles>
    <p:titleStyle>
      <a:lvl1pPr algn="l" defTabSz="914378" rtl="0" eaLnBrk="1" latinLnBrk="0" hangingPunct="1">
        <a:spcBef>
          <a:spcPct val="0"/>
        </a:spcBef>
        <a:buNone/>
        <a:defRPr sz="15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378" rtl="0" eaLnBrk="1" latinLnBrk="0" hangingPunct="1">
        <a:spcBef>
          <a:spcPts val="0"/>
        </a:spcBef>
        <a:spcAft>
          <a:spcPts val="1000"/>
        </a:spcAft>
        <a:buSzPct val="100000"/>
        <a:buFontTx/>
        <a:buNone/>
        <a:defRPr sz="9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95250" indent="-95250" algn="l" defTabSz="914378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9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09550" indent="-95250" algn="l" defTabSz="914378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defRPr lang="en-US" sz="9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23850" indent="-95250" algn="l" defTabSz="914378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◦"/>
        <a:defRPr lang="en-US" sz="9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438150" indent="-95250" algn="l" defTabSz="79849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tabLst/>
        <a:defRPr lang="en-US" sz="9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787" indent="-176396" algn="l" defTabSz="914378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787" indent="-176396" algn="l" defTabSz="914378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787" indent="-176396" algn="l" defTabSz="914378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787" indent="-176396" algn="l" defTabSz="914378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10" pos="4986">
          <p15:clr>
            <a:srgbClr val="F26B43"/>
          </p15:clr>
        </p15:guide>
        <p15:guide id="12" pos="1382">
          <p15:clr>
            <a:srgbClr val="F26B43"/>
          </p15:clr>
        </p15:guide>
        <p15:guide id="13" pos="1496">
          <p15:clr>
            <a:srgbClr val="F26B43"/>
          </p15:clr>
        </p15:guide>
        <p15:guide id="14" pos="2581">
          <p15:clr>
            <a:srgbClr val="F26B43"/>
          </p15:clr>
        </p15:guide>
        <p15:guide id="15" pos="2695">
          <p15:clr>
            <a:srgbClr val="F26B43"/>
          </p15:clr>
        </p15:guide>
        <p15:guide id="16" pos="6185">
          <p15:clr>
            <a:srgbClr val="F26B43"/>
          </p15:clr>
        </p15:guide>
        <p15:guide id="17" pos="3783">
          <p15:clr>
            <a:srgbClr val="F26B43"/>
          </p15:clr>
        </p15:guide>
        <p15:guide id="18" pos="3896">
          <p15:clr>
            <a:srgbClr val="F26B43"/>
          </p15:clr>
        </p15:guide>
        <p15:guide id="19" pos="3840">
          <p15:clr>
            <a:srgbClr val="F26B43"/>
          </p15:clr>
        </p15:guide>
        <p15:guide id="20" pos="6299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1">
          <p15:clr>
            <a:srgbClr val="F26B43"/>
          </p15:clr>
        </p15:guide>
        <p15:guide id="23" orient="horz" pos="28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4"/>
            </p:custDataLst>
            <p:extLst>
              <p:ext uri="{D42A27DB-BD31-4B8C-83A1-F6EECF244321}">
                <p14:modId xmlns:p14="http://schemas.microsoft.com/office/powerpoint/2010/main" val="3345550240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5" imgW="270" imgH="270" progId="TCLayout.ActiveDocument.1">
                  <p:embed/>
                </p:oleObj>
              </mc:Choice>
              <mc:Fallback>
                <p:oleObj name="think-cell Slide" r:id="rId4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52425" y="402587"/>
            <a:ext cx="843915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352425" y="1665290"/>
            <a:ext cx="843915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tx1"/>
                </a:solidFill>
              </a:rPr>
              <a:t>Blockchain Guild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352426" y="6477001"/>
            <a:ext cx="4016375" cy="100027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0" indent="0" algn="l" defTabSz="914378" rtl="0" eaLnBrk="1" latinLnBrk="0" hangingPunct="1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b="0" noProof="0" dirty="0">
                <a:solidFill>
                  <a:schemeClr val="tx1"/>
                </a:solidFill>
                <a:latin typeface="+mn-lt"/>
              </a:rPr>
              <a:t>Copyright © 2021 Deloitte Development LL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58215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26344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29" r:id="rId9"/>
    <p:sldLayoutId id="2147483730" r:id="rId10"/>
    <p:sldLayoutId id="2147483731" r:id="rId11"/>
    <p:sldLayoutId id="2147483732" r:id="rId12"/>
    <p:sldLayoutId id="2147483733" r:id="rId13"/>
    <p:sldLayoutId id="2147483734" r:id="rId14"/>
    <p:sldLayoutId id="2147483735" r:id="rId15"/>
    <p:sldLayoutId id="2147483736" r:id="rId16"/>
    <p:sldLayoutId id="2147483737" r:id="rId17"/>
    <p:sldLayoutId id="2147483738" r:id="rId18"/>
    <p:sldLayoutId id="2147483739" r:id="rId19"/>
    <p:sldLayoutId id="2147483740" r:id="rId20"/>
    <p:sldLayoutId id="2147483741" r:id="rId21"/>
    <p:sldLayoutId id="2147483742" r:id="rId22"/>
    <p:sldLayoutId id="2147483743" r:id="rId23"/>
    <p:sldLayoutId id="2147483744" r:id="rId24"/>
    <p:sldLayoutId id="2147483745" r:id="rId25"/>
    <p:sldLayoutId id="2147483746" r:id="rId26"/>
    <p:sldLayoutId id="2147483747" r:id="rId27"/>
    <p:sldLayoutId id="2147483748" r:id="rId28"/>
    <p:sldLayoutId id="2147483749" r:id="rId29"/>
    <p:sldLayoutId id="2147483750" r:id="rId30"/>
    <p:sldLayoutId id="2147483751" r:id="rId31"/>
    <p:sldLayoutId id="2147483752" r:id="rId32"/>
    <p:sldLayoutId id="2147483753" r:id="rId33"/>
    <p:sldLayoutId id="2147483754" r:id="rId34"/>
    <p:sldLayoutId id="2147483755" r:id="rId35"/>
    <p:sldLayoutId id="2147483756" r:id="rId36"/>
    <p:sldLayoutId id="2147483757" r:id="rId37"/>
    <p:sldLayoutId id="2147483758" r:id="rId38"/>
    <p:sldLayoutId id="2147483759" r:id="rId39"/>
    <p:sldLayoutId id="2147483760" r:id="rId40"/>
    <p:sldLayoutId id="2147483761" r:id="rId41"/>
    <p:sldLayoutId id="2147483762" r:id="rId42"/>
  </p:sldLayoutIdLst>
  <p:transition>
    <p:fade/>
  </p:transition>
  <p:hf hdr="0" dt="0"/>
  <p:txStyles>
    <p:titleStyle>
      <a:lvl1pPr algn="l" defTabSz="914378" rtl="0" eaLnBrk="1" latinLnBrk="0" hangingPunct="1">
        <a:spcBef>
          <a:spcPct val="0"/>
        </a:spcBef>
        <a:buNone/>
        <a:defRPr sz="15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378" rtl="0" eaLnBrk="1" latinLnBrk="0" hangingPunct="1">
        <a:spcBef>
          <a:spcPts val="0"/>
        </a:spcBef>
        <a:spcAft>
          <a:spcPts val="1000"/>
        </a:spcAft>
        <a:buSzPct val="100000"/>
        <a:buFontTx/>
        <a:buNone/>
        <a:defRPr sz="9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95250" indent="-95250" algn="l" defTabSz="914378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9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09550" indent="-95250" algn="l" defTabSz="914378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defRPr lang="en-US" sz="9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23850" indent="-95250" algn="l" defTabSz="914378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◦"/>
        <a:defRPr lang="en-US" sz="9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438150" indent="-95250" algn="l" defTabSz="79849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tabLst/>
        <a:defRPr lang="en-US" sz="9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787" indent="-176396" algn="l" defTabSz="914378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787" indent="-176396" algn="l" defTabSz="914378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787" indent="-176396" algn="l" defTabSz="914378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787" indent="-176396" algn="l" defTabSz="914378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10" pos="4986">
          <p15:clr>
            <a:srgbClr val="F26B43"/>
          </p15:clr>
        </p15:guide>
        <p15:guide id="12" pos="1382">
          <p15:clr>
            <a:srgbClr val="F26B43"/>
          </p15:clr>
        </p15:guide>
        <p15:guide id="13" pos="1496">
          <p15:clr>
            <a:srgbClr val="F26B43"/>
          </p15:clr>
        </p15:guide>
        <p15:guide id="14" pos="2581">
          <p15:clr>
            <a:srgbClr val="F26B43"/>
          </p15:clr>
        </p15:guide>
        <p15:guide id="15" pos="2695">
          <p15:clr>
            <a:srgbClr val="F26B43"/>
          </p15:clr>
        </p15:guide>
        <p15:guide id="16" pos="6185">
          <p15:clr>
            <a:srgbClr val="F26B43"/>
          </p15:clr>
        </p15:guide>
        <p15:guide id="17" pos="3783">
          <p15:clr>
            <a:srgbClr val="F26B43"/>
          </p15:clr>
        </p15:guide>
        <p15:guide id="18" pos="3896">
          <p15:clr>
            <a:srgbClr val="F26B43"/>
          </p15:clr>
        </p15:guide>
        <p15:guide id="19" pos="3840">
          <p15:clr>
            <a:srgbClr val="F26B43"/>
          </p15:clr>
        </p15:guide>
        <p15:guide id="20" pos="6299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1">
          <p15:clr>
            <a:srgbClr val="F26B43"/>
          </p15:clr>
        </p15:guide>
        <p15:guide id="23" orient="horz" pos="288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3"/>
            </p:custDataLst>
            <p:extLst>
              <p:ext uri="{D42A27DB-BD31-4B8C-83A1-F6EECF244321}">
                <p14:modId xmlns:p14="http://schemas.microsoft.com/office/powerpoint/2010/main" val="3079941322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4" imgW="270" imgH="270" progId="TCLayout.ActiveDocument.1">
                  <p:embed/>
                </p:oleObj>
              </mc:Choice>
              <mc:Fallback>
                <p:oleObj name="think-cell Slide" r:id="rId4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52425" y="402587"/>
            <a:ext cx="843915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352425" y="1665290"/>
            <a:ext cx="843915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tx1"/>
                </a:solidFill>
              </a:rPr>
              <a:t>Blockchain Guild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352426" y="6477001"/>
            <a:ext cx="4016375" cy="100027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0" indent="0" algn="l" defTabSz="914378" rtl="0" eaLnBrk="1" latinLnBrk="0" hangingPunct="1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b="0" noProof="0" dirty="0">
                <a:solidFill>
                  <a:schemeClr val="tx1"/>
                </a:solidFill>
                <a:latin typeface="+mn-lt"/>
              </a:rPr>
              <a:t>Copyright © 2021 Deloitte Development LL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58215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86988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66" r:id="rId2"/>
    <p:sldLayoutId id="2147483767" r:id="rId3"/>
    <p:sldLayoutId id="2147483768" r:id="rId4"/>
    <p:sldLayoutId id="2147483769" r:id="rId5"/>
    <p:sldLayoutId id="2147483770" r:id="rId6"/>
    <p:sldLayoutId id="2147483771" r:id="rId7"/>
    <p:sldLayoutId id="2147483772" r:id="rId8"/>
    <p:sldLayoutId id="2147483773" r:id="rId9"/>
    <p:sldLayoutId id="2147483774" r:id="rId10"/>
    <p:sldLayoutId id="2147483775" r:id="rId11"/>
    <p:sldLayoutId id="2147483776" r:id="rId12"/>
    <p:sldLayoutId id="2147483777" r:id="rId13"/>
    <p:sldLayoutId id="2147483778" r:id="rId14"/>
    <p:sldLayoutId id="2147483779" r:id="rId15"/>
    <p:sldLayoutId id="2147483780" r:id="rId16"/>
    <p:sldLayoutId id="2147483781" r:id="rId17"/>
    <p:sldLayoutId id="2147483782" r:id="rId18"/>
    <p:sldLayoutId id="2147483783" r:id="rId19"/>
    <p:sldLayoutId id="2147483784" r:id="rId20"/>
    <p:sldLayoutId id="2147483785" r:id="rId21"/>
    <p:sldLayoutId id="2147483786" r:id="rId22"/>
    <p:sldLayoutId id="2147483787" r:id="rId23"/>
    <p:sldLayoutId id="2147483788" r:id="rId24"/>
    <p:sldLayoutId id="2147483789" r:id="rId25"/>
    <p:sldLayoutId id="2147483790" r:id="rId26"/>
    <p:sldLayoutId id="2147483791" r:id="rId27"/>
    <p:sldLayoutId id="2147483792" r:id="rId28"/>
    <p:sldLayoutId id="2147483793" r:id="rId29"/>
    <p:sldLayoutId id="2147483794" r:id="rId30"/>
    <p:sldLayoutId id="2147483795" r:id="rId31"/>
    <p:sldLayoutId id="2147483796" r:id="rId32"/>
    <p:sldLayoutId id="2147483797" r:id="rId33"/>
    <p:sldLayoutId id="2147483798" r:id="rId34"/>
    <p:sldLayoutId id="2147483799" r:id="rId35"/>
    <p:sldLayoutId id="2147483800" r:id="rId36"/>
    <p:sldLayoutId id="2147483801" r:id="rId37"/>
    <p:sldLayoutId id="2147483802" r:id="rId38"/>
    <p:sldLayoutId id="2147483803" r:id="rId39"/>
    <p:sldLayoutId id="2147483804" r:id="rId40"/>
    <p:sldLayoutId id="2147483805" r:id="rId41"/>
  </p:sldLayoutIdLst>
  <p:transition>
    <p:fade/>
  </p:transition>
  <p:hf hdr="0" dt="0"/>
  <p:txStyles>
    <p:titleStyle>
      <a:lvl1pPr algn="l" defTabSz="914378" rtl="0" eaLnBrk="1" latinLnBrk="0" hangingPunct="1">
        <a:spcBef>
          <a:spcPct val="0"/>
        </a:spcBef>
        <a:buNone/>
        <a:defRPr sz="15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378" rtl="0" eaLnBrk="1" latinLnBrk="0" hangingPunct="1">
        <a:spcBef>
          <a:spcPts val="0"/>
        </a:spcBef>
        <a:spcAft>
          <a:spcPts val="1000"/>
        </a:spcAft>
        <a:buSzPct val="100000"/>
        <a:buFontTx/>
        <a:buNone/>
        <a:defRPr sz="9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95250" indent="-95250" algn="l" defTabSz="914378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9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09550" indent="-95250" algn="l" defTabSz="914378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defRPr lang="en-US" sz="9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23850" indent="-95250" algn="l" defTabSz="914378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◦"/>
        <a:defRPr lang="en-US" sz="9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438150" indent="-95250" algn="l" defTabSz="79849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tabLst/>
        <a:defRPr lang="en-US" sz="9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787" indent="-176396" algn="l" defTabSz="914378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787" indent="-176396" algn="l" defTabSz="914378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787" indent="-176396" algn="l" defTabSz="914378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787" indent="-176396" algn="l" defTabSz="914378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10" pos="4986">
          <p15:clr>
            <a:srgbClr val="F26B43"/>
          </p15:clr>
        </p15:guide>
        <p15:guide id="12" pos="1382">
          <p15:clr>
            <a:srgbClr val="F26B43"/>
          </p15:clr>
        </p15:guide>
        <p15:guide id="13" pos="1496">
          <p15:clr>
            <a:srgbClr val="F26B43"/>
          </p15:clr>
        </p15:guide>
        <p15:guide id="14" pos="2581">
          <p15:clr>
            <a:srgbClr val="F26B43"/>
          </p15:clr>
        </p15:guide>
        <p15:guide id="15" pos="2695">
          <p15:clr>
            <a:srgbClr val="F26B43"/>
          </p15:clr>
        </p15:guide>
        <p15:guide id="16" pos="6185">
          <p15:clr>
            <a:srgbClr val="F26B43"/>
          </p15:clr>
        </p15:guide>
        <p15:guide id="17" pos="3783">
          <p15:clr>
            <a:srgbClr val="F26B43"/>
          </p15:clr>
        </p15:guide>
        <p15:guide id="18" pos="3896">
          <p15:clr>
            <a:srgbClr val="F26B43"/>
          </p15:clr>
        </p15:guide>
        <p15:guide id="19" pos="3840">
          <p15:clr>
            <a:srgbClr val="F26B43"/>
          </p15:clr>
        </p15:guide>
        <p15:guide id="20" pos="6299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1">
          <p15:clr>
            <a:srgbClr val="F26B43"/>
          </p15:clr>
        </p15:guide>
        <p15:guide id="23" orient="horz" pos="288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3"/>
            </p:custDataLst>
            <p:extLst>
              <p:ext uri="{D42A27DB-BD31-4B8C-83A1-F6EECF244321}">
                <p14:modId xmlns:p14="http://schemas.microsoft.com/office/powerpoint/2010/main" val="3806472383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4" imgW="270" imgH="270" progId="TCLayout.ActiveDocument.1">
                  <p:embed/>
                </p:oleObj>
              </mc:Choice>
              <mc:Fallback>
                <p:oleObj name="think-cell Slide" r:id="rId4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52425" y="402587"/>
            <a:ext cx="843915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352425" y="1665290"/>
            <a:ext cx="843915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tx1"/>
                </a:solidFill>
              </a:rPr>
              <a:t>Blockchain Guild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352426" y="6477001"/>
            <a:ext cx="4016375" cy="100027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0" indent="0" algn="l" defTabSz="914378" rtl="0" eaLnBrk="1" latinLnBrk="0" hangingPunct="1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b="0" noProof="0" dirty="0">
                <a:solidFill>
                  <a:schemeClr val="tx1"/>
                </a:solidFill>
                <a:latin typeface="+mn-lt"/>
              </a:rPr>
              <a:t>Copyright © 2021 Deloitte Development LL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58215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46983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7" r:id="rId1"/>
    <p:sldLayoutId id="2147483808" r:id="rId2"/>
    <p:sldLayoutId id="2147483809" r:id="rId3"/>
    <p:sldLayoutId id="2147483810" r:id="rId4"/>
    <p:sldLayoutId id="2147483811" r:id="rId5"/>
    <p:sldLayoutId id="2147483812" r:id="rId6"/>
    <p:sldLayoutId id="2147483813" r:id="rId7"/>
    <p:sldLayoutId id="2147483814" r:id="rId8"/>
    <p:sldLayoutId id="2147483815" r:id="rId9"/>
    <p:sldLayoutId id="2147483816" r:id="rId10"/>
    <p:sldLayoutId id="2147483817" r:id="rId11"/>
    <p:sldLayoutId id="2147483818" r:id="rId12"/>
    <p:sldLayoutId id="2147483819" r:id="rId13"/>
    <p:sldLayoutId id="2147483820" r:id="rId14"/>
    <p:sldLayoutId id="2147483821" r:id="rId15"/>
    <p:sldLayoutId id="2147483822" r:id="rId16"/>
    <p:sldLayoutId id="2147483823" r:id="rId17"/>
    <p:sldLayoutId id="2147483824" r:id="rId18"/>
    <p:sldLayoutId id="2147483825" r:id="rId19"/>
    <p:sldLayoutId id="2147483826" r:id="rId20"/>
    <p:sldLayoutId id="2147483827" r:id="rId21"/>
    <p:sldLayoutId id="2147483828" r:id="rId22"/>
    <p:sldLayoutId id="2147483829" r:id="rId23"/>
    <p:sldLayoutId id="2147483830" r:id="rId24"/>
    <p:sldLayoutId id="2147483831" r:id="rId25"/>
    <p:sldLayoutId id="2147483832" r:id="rId26"/>
    <p:sldLayoutId id="2147483833" r:id="rId27"/>
    <p:sldLayoutId id="2147483834" r:id="rId28"/>
    <p:sldLayoutId id="2147483835" r:id="rId29"/>
    <p:sldLayoutId id="2147483836" r:id="rId30"/>
    <p:sldLayoutId id="2147483837" r:id="rId31"/>
    <p:sldLayoutId id="2147483838" r:id="rId32"/>
    <p:sldLayoutId id="2147483839" r:id="rId33"/>
    <p:sldLayoutId id="2147483840" r:id="rId34"/>
    <p:sldLayoutId id="2147483841" r:id="rId35"/>
    <p:sldLayoutId id="2147483842" r:id="rId36"/>
    <p:sldLayoutId id="2147483843" r:id="rId37"/>
    <p:sldLayoutId id="2147483844" r:id="rId38"/>
    <p:sldLayoutId id="2147483845" r:id="rId39"/>
    <p:sldLayoutId id="2147483846" r:id="rId40"/>
    <p:sldLayoutId id="2147483847" r:id="rId41"/>
  </p:sldLayoutIdLst>
  <p:transition>
    <p:fade/>
  </p:transition>
  <p:hf hdr="0" dt="0"/>
  <p:txStyles>
    <p:titleStyle>
      <a:lvl1pPr algn="l" defTabSz="914378" rtl="0" eaLnBrk="1" latinLnBrk="0" hangingPunct="1">
        <a:spcBef>
          <a:spcPct val="0"/>
        </a:spcBef>
        <a:buNone/>
        <a:defRPr sz="15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378" rtl="0" eaLnBrk="1" latinLnBrk="0" hangingPunct="1">
        <a:spcBef>
          <a:spcPts val="0"/>
        </a:spcBef>
        <a:spcAft>
          <a:spcPts val="1000"/>
        </a:spcAft>
        <a:buSzPct val="100000"/>
        <a:buFontTx/>
        <a:buNone/>
        <a:defRPr sz="9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95250" indent="-95250" algn="l" defTabSz="914378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9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09550" indent="-95250" algn="l" defTabSz="914378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defRPr lang="en-US" sz="9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23850" indent="-95250" algn="l" defTabSz="914378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◦"/>
        <a:defRPr lang="en-US" sz="9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438150" indent="-95250" algn="l" defTabSz="79849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tabLst/>
        <a:defRPr lang="en-US" sz="9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787" indent="-176396" algn="l" defTabSz="914378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787" indent="-176396" algn="l" defTabSz="914378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787" indent="-176396" algn="l" defTabSz="914378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787" indent="-176396" algn="l" defTabSz="914378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10" pos="4986">
          <p15:clr>
            <a:srgbClr val="F26B43"/>
          </p15:clr>
        </p15:guide>
        <p15:guide id="12" pos="1382">
          <p15:clr>
            <a:srgbClr val="F26B43"/>
          </p15:clr>
        </p15:guide>
        <p15:guide id="13" pos="1496">
          <p15:clr>
            <a:srgbClr val="F26B43"/>
          </p15:clr>
        </p15:guide>
        <p15:guide id="14" pos="2581">
          <p15:clr>
            <a:srgbClr val="F26B43"/>
          </p15:clr>
        </p15:guide>
        <p15:guide id="15" pos="2695">
          <p15:clr>
            <a:srgbClr val="F26B43"/>
          </p15:clr>
        </p15:guide>
        <p15:guide id="16" pos="6185">
          <p15:clr>
            <a:srgbClr val="F26B43"/>
          </p15:clr>
        </p15:guide>
        <p15:guide id="17" pos="3783">
          <p15:clr>
            <a:srgbClr val="F26B43"/>
          </p15:clr>
        </p15:guide>
        <p15:guide id="18" pos="3896">
          <p15:clr>
            <a:srgbClr val="F26B43"/>
          </p15:clr>
        </p15:guide>
        <p15:guide id="19" pos="3840">
          <p15:clr>
            <a:srgbClr val="F26B43"/>
          </p15:clr>
        </p15:guide>
        <p15:guide id="20" pos="6299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1">
          <p15:clr>
            <a:srgbClr val="F26B43"/>
          </p15:clr>
        </p15:guide>
        <p15:guide id="23" orient="horz" pos="288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3"/>
            </p:custDataLst>
            <p:extLst>
              <p:ext uri="{D42A27DB-BD31-4B8C-83A1-F6EECF244321}">
                <p14:modId xmlns:p14="http://schemas.microsoft.com/office/powerpoint/2010/main" val="3923477814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4" imgW="270" imgH="270" progId="TCLayout.ActiveDocument.1">
                  <p:embed/>
                </p:oleObj>
              </mc:Choice>
              <mc:Fallback>
                <p:oleObj name="think-cell Slide" r:id="rId4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52425" y="402587"/>
            <a:ext cx="843915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352425" y="1665290"/>
            <a:ext cx="843915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tx1"/>
                </a:solidFill>
              </a:rPr>
              <a:t>Blockchain Guild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352426" y="6477001"/>
            <a:ext cx="4016375" cy="100027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0" indent="0" algn="l" defTabSz="914378" rtl="0" eaLnBrk="1" latinLnBrk="0" hangingPunct="1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b="0" noProof="0" dirty="0">
                <a:solidFill>
                  <a:schemeClr val="tx1"/>
                </a:solidFill>
                <a:latin typeface="+mn-lt"/>
              </a:rPr>
              <a:t>Copyright © 2021 Deloitte Development LL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58215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07902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9" r:id="rId1"/>
    <p:sldLayoutId id="2147483850" r:id="rId2"/>
    <p:sldLayoutId id="2147483851" r:id="rId3"/>
    <p:sldLayoutId id="2147483852" r:id="rId4"/>
    <p:sldLayoutId id="2147483853" r:id="rId5"/>
    <p:sldLayoutId id="2147483854" r:id="rId6"/>
    <p:sldLayoutId id="2147483855" r:id="rId7"/>
    <p:sldLayoutId id="2147483856" r:id="rId8"/>
    <p:sldLayoutId id="2147483857" r:id="rId9"/>
    <p:sldLayoutId id="2147483858" r:id="rId10"/>
    <p:sldLayoutId id="2147483859" r:id="rId11"/>
    <p:sldLayoutId id="2147483860" r:id="rId12"/>
    <p:sldLayoutId id="2147483861" r:id="rId13"/>
    <p:sldLayoutId id="2147483862" r:id="rId14"/>
    <p:sldLayoutId id="2147483863" r:id="rId15"/>
    <p:sldLayoutId id="2147483864" r:id="rId16"/>
    <p:sldLayoutId id="2147483865" r:id="rId17"/>
    <p:sldLayoutId id="2147483866" r:id="rId18"/>
    <p:sldLayoutId id="2147483867" r:id="rId19"/>
    <p:sldLayoutId id="2147483868" r:id="rId20"/>
    <p:sldLayoutId id="2147483869" r:id="rId21"/>
    <p:sldLayoutId id="2147483870" r:id="rId22"/>
    <p:sldLayoutId id="2147483871" r:id="rId23"/>
    <p:sldLayoutId id="2147483872" r:id="rId24"/>
    <p:sldLayoutId id="2147483873" r:id="rId25"/>
    <p:sldLayoutId id="2147483874" r:id="rId26"/>
    <p:sldLayoutId id="2147483875" r:id="rId27"/>
    <p:sldLayoutId id="2147483876" r:id="rId28"/>
    <p:sldLayoutId id="2147483877" r:id="rId29"/>
    <p:sldLayoutId id="2147483878" r:id="rId30"/>
    <p:sldLayoutId id="2147483879" r:id="rId31"/>
    <p:sldLayoutId id="2147483880" r:id="rId32"/>
    <p:sldLayoutId id="2147483881" r:id="rId33"/>
    <p:sldLayoutId id="2147483882" r:id="rId34"/>
    <p:sldLayoutId id="2147483883" r:id="rId35"/>
    <p:sldLayoutId id="2147483884" r:id="rId36"/>
    <p:sldLayoutId id="2147483885" r:id="rId37"/>
    <p:sldLayoutId id="2147483886" r:id="rId38"/>
    <p:sldLayoutId id="2147483887" r:id="rId39"/>
    <p:sldLayoutId id="2147483888" r:id="rId40"/>
    <p:sldLayoutId id="2147483889" r:id="rId41"/>
  </p:sldLayoutIdLst>
  <p:transition>
    <p:fade/>
  </p:transition>
  <p:hf hdr="0" dt="0"/>
  <p:txStyles>
    <p:titleStyle>
      <a:lvl1pPr algn="l" defTabSz="914378" rtl="0" eaLnBrk="1" latinLnBrk="0" hangingPunct="1">
        <a:spcBef>
          <a:spcPct val="0"/>
        </a:spcBef>
        <a:buNone/>
        <a:defRPr sz="15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378" rtl="0" eaLnBrk="1" latinLnBrk="0" hangingPunct="1">
        <a:spcBef>
          <a:spcPts val="0"/>
        </a:spcBef>
        <a:spcAft>
          <a:spcPts val="1000"/>
        </a:spcAft>
        <a:buSzPct val="100000"/>
        <a:buFontTx/>
        <a:buNone/>
        <a:defRPr sz="9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95250" indent="-95250" algn="l" defTabSz="914378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9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09550" indent="-95250" algn="l" defTabSz="914378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defRPr lang="en-US" sz="9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23850" indent="-95250" algn="l" defTabSz="914378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◦"/>
        <a:defRPr lang="en-US" sz="9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438150" indent="-95250" algn="l" defTabSz="79849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tabLst/>
        <a:defRPr lang="en-US" sz="9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787" indent="-176396" algn="l" defTabSz="914378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787" indent="-176396" algn="l" defTabSz="914378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787" indent="-176396" algn="l" defTabSz="914378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787" indent="-176396" algn="l" defTabSz="914378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10" pos="4986">
          <p15:clr>
            <a:srgbClr val="F26B43"/>
          </p15:clr>
        </p15:guide>
        <p15:guide id="12" pos="1382">
          <p15:clr>
            <a:srgbClr val="F26B43"/>
          </p15:clr>
        </p15:guide>
        <p15:guide id="13" pos="1496">
          <p15:clr>
            <a:srgbClr val="F26B43"/>
          </p15:clr>
        </p15:guide>
        <p15:guide id="14" pos="2581">
          <p15:clr>
            <a:srgbClr val="F26B43"/>
          </p15:clr>
        </p15:guide>
        <p15:guide id="15" pos="2695">
          <p15:clr>
            <a:srgbClr val="F26B43"/>
          </p15:clr>
        </p15:guide>
        <p15:guide id="16" pos="6185">
          <p15:clr>
            <a:srgbClr val="F26B43"/>
          </p15:clr>
        </p15:guide>
        <p15:guide id="17" pos="3783">
          <p15:clr>
            <a:srgbClr val="F26B43"/>
          </p15:clr>
        </p15:guide>
        <p15:guide id="18" pos="3896">
          <p15:clr>
            <a:srgbClr val="F26B43"/>
          </p15:clr>
        </p15:guide>
        <p15:guide id="19" pos="3840">
          <p15:clr>
            <a:srgbClr val="F26B43"/>
          </p15:clr>
        </p15:guide>
        <p15:guide id="20" pos="6299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1">
          <p15:clr>
            <a:srgbClr val="F26B43"/>
          </p15:clr>
        </p15:guide>
        <p15:guide id="23" orient="horz" pos="288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3"/>
            </p:custDataLst>
            <p:extLst>
              <p:ext uri="{D42A27DB-BD31-4B8C-83A1-F6EECF244321}">
                <p14:modId xmlns:p14="http://schemas.microsoft.com/office/powerpoint/2010/main" val="2947445100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4" imgW="270" imgH="270" progId="TCLayout.ActiveDocument.1">
                  <p:embed/>
                </p:oleObj>
              </mc:Choice>
              <mc:Fallback>
                <p:oleObj name="think-cell Slide" r:id="rId4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52425" y="402587"/>
            <a:ext cx="843915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352425" y="1665290"/>
            <a:ext cx="843915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tx1"/>
                </a:solidFill>
              </a:rPr>
              <a:t>Blockchain Guild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352426" y="6477001"/>
            <a:ext cx="4016375" cy="100027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0" indent="0" algn="l" defTabSz="914378" rtl="0" eaLnBrk="1" latinLnBrk="0" hangingPunct="1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b="0" noProof="0" dirty="0">
                <a:solidFill>
                  <a:schemeClr val="tx1"/>
                </a:solidFill>
                <a:latin typeface="+mn-lt"/>
              </a:rPr>
              <a:t>Copyright © 2021 Deloitte Development LL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58215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35819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1" r:id="rId1"/>
    <p:sldLayoutId id="2147483892" r:id="rId2"/>
    <p:sldLayoutId id="2147483893" r:id="rId3"/>
    <p:sldLayoutId id="2147483894" r:id="rId4"/>
    <p:sldLayoutId id="2147483895" r:id="rId5"/>
    <p:sldLayoutId id="2147483896" r:id="rId6"/>
    <p:sldLayoutId id="2147483897" r:id="rId7"/>
    <p:sldLayoutId id="2147483898" r:id="rId8"/>
    <p:sldLayoutId id="2147483899" r:id="rId9"/>
    <p:sldLayoutId id="2147483900" r:id="rId10"/>
    <p:sldLayoutId id="2147483901" r:id="rId11"/>
    <p:sldLayoutId id="2147483902" r:id="rId12"/>
    <p:sldLayoutId id="2147483903" r:id="rId13"/>
    <p:sldLayoutId id="2147483904" r:id="rId14"/>
    <p:sldLayoutId id="2147483905" r:id="rId15"/>
    <p:sldLayoutId id="2147483906" r:id="rId16"/>
    <p:sldLayoutId id="2147483907" r:id="rId17"/>
    <p:sldLayoutId id="2147483908" r:id="rId18"/>
    <p:sldLayoutId id="2147483909" r:id="rId19"/>
    <p:sldLayoutId id="2147483910" r:id="rId20"/>
    <p:sldLayoutId id="2147483911" r:id="rId21"/>
    <p:sldLayoutId id="2147483912" r:id="rId22"/>
    <p:sldLayoutId id="2147483913" r:id="rId23"/>
    <p:sldLayoutId id="2147483914" r:id="rId24"/>
    <p:sldLayoutId id="2147483915" r:id="rId25"/>
    <p:sldLayoutId id="2147483916" r:id="rId26"/>
    <p:sldLayoutId id="2147483917" r:id="rId27"/>
    <p:sldLayoutId id="2147483918" r:id="rId28"/>
    <p:sldLayoutId id="2147483919" r:id="rId29"/>
    <p:sldLayoutId id="2147483920" r:id="rId30"/>
    <p:sldLayoutId id="2147483921" r:id="rId31"/>
    <p:sldLayoutId id="2147483922" r:id="rId32"/>
    <p:sldLayoutId id="2147483923" r:id="rId33"/>
    <p:sldLayoutId id="2147483924" r:id="rId34"/>
    <p:sldLayoutId id="2147483925" r:id="rId35"/>
    <p:sldLayoutId id="2147483926" r:id="rId36"/>
    <p:sldLayoutId id="2147483927" r:id="rId37"/>
    <p:sldLayoutId id="2147483928" r:id="rId38"/>
    <p:sldLayoutId id="2147483929" r:id="rId39"/>
    <p:sldLayoutId id="2147483930" r:id="rId40"/>
    <p:sldLayoutId id="2147483931" r:id="rId41"/>
  </p:sldLayoutIdLst>
  <p:transition>
    <p:fade/>
  </p:transition>
  <p:hf hdr="0" dt="0"/>
  <p:txStyles>
    <p:titleStyle>
      <a:lvl1pPr algn="l" defTabSz="914378" rtl="0" eaLnBrk="1" latinLnBrk="0" hangingPunct="1">
        <a:spcBef>
          <a:spcPct val="0"/>
        </a:spcBef>
        <a:buNone/>
        <a:defRPr sz="15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378" rtl="0" eaLnBrk="1" latinLnBrk="0" hangingPunct="1">
        <a:spcBef>
          <a:spcPts val="0"/>
        </a:spcBef>
        <a:spcAft>
          <a:spcPts val="1000"/>
        </a:spcAft>
        <a:buSzPct val="100000"/>
        <a:buFontTx/>
        <a:buNone/>
        <a:defRPr sz="9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95250" indent="-95250" algn="l" defTabSz="914378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9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09550" indent="-95250" algn="l" defTabSz="914378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defRPr lang="en-US" sz="9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23850" indent="-95250" algn="l" defTabSz="914378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◦"/>
        <a:defRPr lang="en-US" sz="9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438150" indent="-95250" algn="l" defTabSz="79849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tabLst/>
        <a:defRPr lang="en-US" sz="9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787" indent="-176396" algn="l" defTabSz="914378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787" indent="-176396" algn="l" defTabSz="914378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787" indent="-176396" algn="l" defTabSz="914378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787" indent="-176396" algn="l" defTabSz="914378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10" pos="4986">
          <p15:clr>
            <a:srgbClr val="F26B43"/>
          </p15:clr>
        </p15:guide>
        <p15:guide id="12" pos="1382">
          <p15:clr>
            <a:srgbClr val="F26B43"/>
          </p15:clr>
        </p15:guide>
        <p15:guide id="13" pos="1496">
          <p15:clr>
            <a:srgbClr val="F26B43"/>
          </p15:clr>
        </p15:guide>
        <p15:guide id="14" pos="2581">
          <p15:clr>
            <a:srgbClr val="F26B43"/>
          </p15:clr>
        </p15:guide>
        <p15:guide id="15" pos="2695">
          <p15:clr>
            <a:srgbClr val="F26B43"/>
          </p15:clr>
        </p15:guide>
        <p15:guide id="16" pos="6185">
          <p15:clr>
            <a:srgbClr val="F26B43"/>
          </p15:clr>
        </p15:guide>
        <p15:guide id="17" pos="3783">
          <p15:clr>
            <a:srgbClr val="F26B43"/>
          </p15:clr>
        </p15:guide>
        <p15:guide id="18" pos="3896">
          <p15:clr>
            <a:srgbClr val="F26B43"/>
          </p15:clr>
        </p15:guide>
        <p15:guide id="19" pos="3840">
          <p15:clr>
            <a:srgbClr val="F26B43"/>
          </p15:clr>
        </p15:guide>
        <p15:guide id="20" pos="6299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1">
          <p15:clr>
            <a:srgbClr val="F26B43"/>
          </p15:clr>
        </p15:guide>
        <p15:guide id="23" orient="horz" pos="288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3"/>
            </p:custDataLst>
            <p:extLst>
              <p:ext uri="{D42A27DB-BD31-4B8C-83A1-F6EECF244321}">
                <p14:modId xmlns:p14="http://schemas.microsoft.com/office/powerpoint/2010/main" val="290949281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4" imgW="270" imgH="270" progId="TCLayout.ActiveDocument.1">
                  <p:embed/>
                </p:oleObj>
              </mc:Choice>
              <mc:Fallback>
                <p:oleObj name="think-cell Slide" r:id="rId4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52425" y="402587"/>
            <a:ext cx="843915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352425" y="1665290"/>
            <a:ext cx="843915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tx1"/>
                </a:solidFill>
              </a:rPr>
              <a:t>Blockchain Guild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352426" y="6477001"/>
            <a:ext cx="4016375" cy="100027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0" indent="0" algn="l" defTabSz="914378" rtl="0" eaLnBrk="1" latinLnBrk="0" hangingPunct="1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b="0" noProof="0" dirty="0">
                <a:solidFill>
                  <a:schemeClr val="tx1"/>
                </a:solidFill>
                <a:latin typeface="+mn-lt"/>
              </a:rPr>
              <a:t>Copyright © 2021 Deloitte Development LL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58215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8856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3" r:id="rId1"/>
    <p:sldLayoutId id="2147483934" r:id="rId2"/>
    <p:sldLayoutId id="2147483935" r:id="rId3"/>
    <p:sldLayoutId id="2147483936" r:id="rId4"/>
    <p:sldLayoutId id="2147483937" r:id="rId5"/>
    <p:sldLayoutId id="2147483938" r:id="rId6"/>
    <p:sldLayoutId id="2147483939" r:id="rId7"/>
    <p:sldLayoutId id="2147483940" r:id="rId8"/>
    <p:sldLayoutId id="2147483941" r:id="rId9"/>
    <p:sldLayoutId id="2147483942" r:id="rId10"/>
    <p:sldLayoutId id="2147483943" r:id="rId11"/>
    <p:sldLayoutId id="2147483944" r:id="rId12"/>
    <p:sldLayoutId id="2147483945" r:id="rId13"/>
    <p:sldLayoutId id="2147483946" r:id="rId14"/>
    <p:sldLayoutId id="2147483947" r:id="rId15"/>
    <p:sldLayoutId id="2147483948" r:id="rId16"/>
    <p:sldLayoutId id="2147483949" r:id="rId17"/>
    <p:sldLayoutId id="2147483950" r:id="rId18"/>
    <p:sldLayoutId id="2147483951" r:id="rId19"/>
    <p:sldLayoutId id="2147483952" r:id="rId20"/>
    <p:sldLayoutId id="2147483953" r:id="rId21"/>
    <p:sldLayoutId id="2147483954" r:id="rId22"/>
    <p:sldLayoutId id="2147483955" r:id="rId23"/>
    <p:sldLayoutId id="2147483956" r:id="rId24"/>
    <p:sldLayoutId id="2147483957" r:id="rId25"/>
    <p:sldLayoutId id="2147483958" r:id="rId26"/>
    <p:sldLayoutId id="2147483959" r:id="rId27"/>
    <p:sldLayoutId id="2147483960" r:id="rId28"/>
    <p:sldLayoutId id="2147483961" r:id="rId29"/>
    <p:sldLayoutId id="2147483962" r:id="rId30"/>
    <p:sldLayoutId id="2147483963" r:id="rId31"/>
    <p:sldLayoutId id="2147483964" r:id="rId32"/>
    <p:sldLayoutId id="2147483965" r:id="rId33"/>
    <p:sldLayoutId id="2147483966" r:id="rId34"/>
    <p:sldLayoutId id="2147483967" r:id="rId35"/>
    <p:sldLayoutId id="2147483968" r:id="rId36"/>
    <p:sldLayoutId id="2147483969" r:id="rId37"/>
    <p:sldLayoutId id="2147483970" r:id="rId38"/>
    <p:sldLayoutId id="2147483971" r:id="rId39"/>
    <p:sldLayoutId id="2147483972" r:id="rId40"/>
    <p:sldLayoutId id="2147483973" r:id="rId41"/>
  </p:sldLayoutIdLst>
  <p:transition>
    <p:fade/>
  </p:transition>
  <p:hf hdr="0" dt="0"/>
  <p:txStyles>
    <p:titleStyle>
      <a:lvl1pPr algn="l" defTabSz="914378" rtl="0" eaLnBrk="1" latinLnBrk="0" hangingPunct="1">
        <a:spcBef>
          <a:spcPct val="0"/>
        </a:spcBef>
        <a:buNone/>
        <a:defRPr sz="15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378" rtl="0" eaLnBrk="1" latinLnBrk="0" hangingPunct="1">
        <a:spcBef>
          <a:spcPts val="0"/>
        </a:spcBef>
        <a:spcAft>
          <a:spcPts val="1000"/>
        </a:spcAft>
        <a:buSzPct val="100000"/>
        <a:buFontTx/>
        <a:buNone/>
        <a:defRPr sz="9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95250" indent="-95250" algn="l" defTabSz="914378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9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09550" indent="-95250" algn="l" defTabSz="914378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defRPr lang="en-US" sz="9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23850" indent="-95250" algn="l" defTabSz="914378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◦"/>
        <a:defRPr lang="en-US" sz="9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438150" indent="-95250" algn="l" defTabSz="79849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tabLst/>
        <a:defRPr lang="en-US" sz="9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787" indent="-176396" algn="l" defTabSz="914378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787" indent="-176396" algn="l" defTabSz="914378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787" indent="-176396" algn="l" defTabSz="914378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787" indent="-176396" algn="l" defTabSz="914378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10" pos="4986">
          <p15:clr>
            <a:srgbClr val="F26B43"/>
          </p15:clr>
        </p15:guide>
        <p15:guide id="12" pos="1382">
          <p15:clr>
            <a:srgbClr val="F26B43"/>
          </p15:clr>
        </p15:guide>
        <p15:guide id="13" pos="1496">
          <p15:clr>
            <a:srgbClr val="F26B43"/>
          </p15:clr>
        </p15:guide>
        <p15:guide id="14" pos="2581">
          <p15:clr>
            <a:srgbClr val="F26B43"/>
          </p15:clr>
        </p15:guide>
        <p15:guide id="15" pos="2695">
          <p15:clr>
            <a:srgbClr val="F26B43"/>
          </p15:clr>
        </p15:guide>
        <p15:guide id="16" pos="6185">
          <p15:clr>
            <a:srgbClr val="F26B43"/>
          </p15:clr>
        </p15:guide>
        <p15:guide id="17" pos="3783">
          <p15:clr>
            <a:srgbClr val="F26B43"/>
          </p15:clr>
        </p15:guide>
        <p15:guide id="18" pos="3896">
          <p15:clr>
            <a:srgbClr val="F26B43"/>
          </p15:clr>
        </p15:guide>
        <p15:guide id="19" pos="3840">
          <p15:clr>
            <a:srgbClr val="F26B43"/>
          </p15:clr>
        </p15:guide>
        <p15:guide id="20" pos="6299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1">
          <p15:clr>
            <a:srgbClr val="F26B43"/>
          </p15:clr>
        </p15:guide>
        <p15:guide id="23" orient="horz" pos="2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65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47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jpeg"/><Relationship Id="rId9" Type="http://schemas.openxmlformats.org/officeDocument/2006/relationships/image" Target="../media/image33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svg"/><Relationship Id="rId3" Type="http://schemas.openxmlformats.org/officeDocument/2006/relationships/image" Target="../media/image35.png"/><Relationship Id="rId7" Type="http://schemas.openxmlformats.org/officeDocument/2006/relationships/image" Target="../media/image39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8.svg"/><Relationship Id="rId5" Type="http://schemas.openxmlformats.org/officeDocument/2006/relationships/image" Target="../media/image37.png"/><Relationship Id="rId4" Type="http://schemas.openxmlformats.org/officeDocument/2006/relationships/image" Target="../media/image36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13" Type="http://schemas.openxmlformats.org/officeDocument/2006/relationships/image" Target="../media/image14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8.png"/><Relationship Id="rId12" Type="http://schemas.openxmlformats.org/officeDocument/2006/relationships/image" Target="../media/image13.sv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1.xml"/><Relationship Id="rId11" Type="http://schemas.openxmlformats.org/officeDocument/2006/relationships/image" Target="../media/image12.png"/><Relationship Id="rId5" Type="http://schemas.openxmlformats.org/officeDocument/2006/relationships/diagramColors" Target="../diagrams/colors1.xml"/><Relationship Id="rId10" Type="http://schemas.openxmlformats.org/officeDocument/2006/relationships/image" Target="../media/image11.svg"/><Relationship Id="rId4" Type="http://schemas.openxmlformats.org/officeDocument/2006/relationships/diagramQuickStyle" Target="../diagrams/quickStyle1.xml"/><Relationship Id="rId9" Type="http://schemas.openxmlformats.org/officeDocument/2006/relationships/image" Target="../media/image10.png"/><Relationship Id="rId14" Type="http://schemas.openxmlformats.org/officeDocument/2006/relationships/image" Target="../media/image15.sv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svg"/><Relationship Id="rId13" Type="http://schemas.openxmlformats.org/officeDocument/2006/relationships/image" Target="../media/image23.svg"/><Relationship Id="rId3" Type="http://schemas.openxmlformats.org/officeDocument/2006/relationships/diagramLayout" Target="../diagrams/layout2.xml"/><Relationship Id="rId7" Type="http://schemas.openxmlformats.org/officeDocument/2006/relationships/image" Target="../media/image17.png"/><Relationship Id="rId12" Type="http://schemas.openxmlformats.org/officeDocument/2006/relationships/image" Target="../media/image22.pn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2.xml"/><Relationship Id="rId11" Type="http://schemas.openxmlformats.org/officeDocument/2006/relationships/image" Target="../media/image21.png"/><Relationship Id="rId5" Type="http://schemas.openxmlformats.org/officeDocument/2006/relationships/diagramColors" Target="../diagrams/colors2.xml"/><Relationship Id="rId10" Type="http://schemas.openxmlformats.org/officeDocument/2006/relationships/image" Target="../media/image20.svg"/><Relationship Id="rId4" Type="http://schemas.openxmlformats.org/officeDocument/2006/relationships/diagramQuickStyle" Target="../diagrams/quickStyle2.xml"/><Relationship Id="rId9" Type="http://schemas.openxmlformats.org/officeDocument/2006/relationships/image" Target="../media/image19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06.xml"/><Relationship Id="rId4" Type="http://schemas.openxmlformats.org/officeDocument/2006/relationships/image" Target="../media/image2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Flowchart: Document 134">
            <a:extLst>
              <a:ext uri="{FF2B5EF4-FFF2-40B4-BE49-F238E27FC236}">
                <a16:creationId xmlns:a16="http://schemas.microsoft.com/office/drawing/2014/main" id="{D12DDE76-C203-4047-9998-63900085B5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78631" y="0"/>
            <a:ext cx="2436019" cy="3400426"/>
          </a:xfrm>
          <a:prstGeom prst="flowChartDocumen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E128922-8B8A-4253-A36F-D6E344AFD36E}"/>
              </a:ext>
            </a:extLst>
          </p:cNvPr>
          <p:cNvSpPr/>
          <p:nvPr/>
        </p:nvSpPr>
        <p:spPr>
          <a:xfrm>
            <a:off x="628650" y="171162"/>
            <a:ext cx="2130136" cy="237114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2800" b="0" kern="1200" cap="none" spc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+mj-lt"/>
                <a:ea typeface="+mj-ea"/>
                <a:cs typeface="+mj-cs"/>
              </a:rPr>
              <a:t>Blockchain Ethereum Project</a:t>
            </a:r>
          </a:p>
        </p:txBody>
      </p:sp>
      <p:pic>
        <p:nvPicPr>
          <p:cNvPr id="34818" name="Picture 2">
            <a:extLst>
              <a:ext uri="{FF2B5EF4-FFF2-40B4-BE49-F238E27FC236}">
                <a16:creationId xmlns:a16="http://schemas.microsoft.com/office/drawing/2014/main" id="{51AE78A3-E9D1-4747-A163-28C6320AA8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948265" y="639592"/>
            <a:ext cx="3430971" cy="55788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B0E35995-02D1-4C22-8876-BAB996298D1B}"/>
              </a:ext>
            </a:extLst>
          </p:cNvPr>
          <p:cNvSpPr txBox="1"/>
          <p:nvPr/>
        </p:nvSpPr>
        <p:spPr>
          <a:xfrm>
            <a:off x="347690" y="4029075"/>
            <a:ext cx="460057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 err="1"/>
              <a:t>Covid</a:t>
            </a:r>
            <a:r>
              <a:rPr lang="en-US" sz="3200" b="1" dirty="0"/>
              <a:t> Donation Manager</a:t>
            </a:r>
          </a:p>
        </p:txBody>
      </p:sp>
    </p:spTree>
    <p:extLst>
      <p:ext uri="{BB962C8B-B14F-4D97-AF65-F5344CB8AC3E}">
        <p14:creationId xmlns:p14="http://schemas.microsoft.com/office/powerpoint/2010/main" val="309203740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933700" y="221612"/>
            <a:ext cx="3514725" cy="616588"/>
          </a:xfrm>
        </p:spPr>
        <p:txBody>
          <a:bodyPr/>
          <a:lstStyle/>
          <a:p>
            <a:r>
              <a:rPr lang="en-US" sz="4000" b="0" noProof="0" dirty="0">
                <a:latin typeface="Calibri Light" panose="020F0302020204030204" pitchFamily="34" charset="0"/>
                <a:cs typeface="Calibri Light" panose="020F0302020204030204" pitchFamily="34" charset="0"/>
              </a:rPr>
              <a:t>Front-end Flow</a:t>
            </a:r>
          </a:p>
        </p:txBody>
      </p:sp>
      <p:pic>
        <p:nvPicPr>
          <p:cNvPr id="14" name="Picture 13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1977C1EB-B21B-445A-A959-FC5D0B0DAD5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6582" y="1601756"/>
            <a:ext cx="7250837" cy="3654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9462818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196409" y="345376"/>
            <a:ext cx="2275673" cy="568963"/>
          </a:xfrm>
        </p:spPr>
        <p:txBody>
          <a:bodyPr/>
          <a:lstStyle/>
          <a:p>
            <a:r>
              <a:rPr lang="en-US" sz="4000" b="0" dirty="0">
                <a:latin typeface="Calibri Light" panose="020F0302020204030204" pitchFamily="34" charset="0"/>
                <a:cs typeface="Calibri Light" panose="020F0302020204030204" pitchFamily="34" charset="0"/>
              </a:rPr>
              <a:t>Tools Used</a:t>
            </a:r>
            <a:endParaRPr lang="en-US" sz="4000" b="0" noProof="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DD05422C-4989-48AE-B006-311895459453}"/>
              </a:ext>
            </a:extLst>
          </p:cNvPr>
          <p:cNvGrpSpPr/>
          <p:nvPr/>
        </p:nvGrpSpPr>
        <p:grpSpPr>
          <a:xfrm>
            <a:off x="720717" y="1768597"/>
            <a:ext cx="2145980" cy="1454043"/>
            <a:chOff x="498815" y="1420427"/>
            <a:chExt cx="2861307" cy="1938724"/>
          </a:xfrm>
        </p:grpSpPr>
        <p:pic>
          <p:nvPicPr>
            <p:cNvPr id="5122" name="Picture 2" descr="React (JavaScript library) - Wikipedia">
              <a:extLst>
                <a:ext uri="{FF2B5EF4-FFF2-40B4-BE49-F238E27FC236}">
                  <a16:creationId xmlns:a16="http://schemas.microsoft.com/office/drawing/2014/main" id="{B74A8A06-F726-4F48-8393-EF773C03CBC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8815" y="1558926"/>
              <a:ext cx="2543175" cy="18002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AAFF99D5-2437-4C4C-86D4-9CBCA669D10A}"/>
                </a:ext>
              </a:extLst>
            </p:cNvPr>
            <p:cNvSpPr txBox="1"/>
            <p:nvPr/>
          </p:nvSpPr>
          <p:spPr>
            <a:xfrm>
              <a:off x="1260628" y="1420427"/>
              <a:ext cx="2099494" cy="276999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defTabSz="914378">
                <a:spcAft>
                  <a:spcPts val="1000"/>
                </a:spcAft>
                <a:buSzPct val="100000"/>
              </a:pPr>
              <a:r>
                <a:rPr lang="en-US" sz="1350" dirty="0">
                  <a:solidFill>
                    <a:srgbClr val="575757"/>
                  </a:solidFill>
                  <a:latin typeface="Verdana"/>
                </a:rPr>
                <a:t>Front-end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2D0C6BE2-66A9-4B78-9204-30750DCA0CB3}"/>
              </a:ext>
            </a:extLst>
          </p:cNvPr>
          <p:cNvGrpSpPr/>
          <p:nvPr/>
        </p:nvGrpSpPr>
        <p:grpSpPr>
          <a:xfrm>
            <a:off x="3795192" y="1768597"/>
            <a:ext cx="1211128" cy="1374744"/>
            <a:chOff x="4198846" y="1330525"/>
            <a:chExt cx="1614837" cy="1832992"/>
          </a:xfrm>
        </p:grpSpPr>
        <p:pic>
          <p:nvPicPr>
            <p:cNvPr id="5124" name="Picture 4">
              <a:extLst>
                <a:ext uri="{FF2B5EF4-FFF2-40B4-BE49-F238E27FC236}">
                  <a16:creationId xmlns:a16="http://schemas.microsoft.com/office/drawing/2014/main" id="{75DD6D0C-E78D-4CB5-BBAE-06CD40847DE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98846" y="1725242"/>
              <a:ext cx="1438275" cy="14382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5191E66A-F723-4FF2-87FC-89BC21F45302}"/>
                </a:ext>
              </a:extLst>
            </p:cNvPr>
            <p:cNvSpPr txBox="1"/>
            <p:nvPr/>
          </p:nvSpPr>
          <p:spPr>
            <a:xfrm>
              <a:off x="4668465" y="1330525"/>
              <a:ext cx="1145218" cy="276999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defTabSz="914378">
                <a:spcBef>
                  <a:spcPts val="150"/>
                </a:spcBef>
                <a:buSzPct val="100000"/>
              </a:pPr>
              <a:r>
                <a:rPr lang="en-US" sz="1350" dirty="0">
                  <a:solidFill>
                    <a:srgbClr val="575757"/>
                  </a:solidFill>
                  <a:latin typeface="Verdana"/>
                </a:rPr>
                <a:t>IDE</a:t>
              </a:r>
              <a:endParaRPr lang="en-US" sz="900" dirty="0">
                <a:solidFill>
                  <a:prstClr val="black"/>
                </a:solidFill>
                <a:latin typeface="Verdana"/>
              </a:endParaRP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EB7F7D5B-07FA-42FC-82C3-69463DB0343A}"/>
              </a:ext>
            </a:extLst>
          </p:cNvPr>
          <p:cNvGrpSpPr/>
          <p:nvPr/>
        </p:nvGrpSpPr>
        <p:grpSpPr>
          <a:xfrm>
            <a:off x="821038" y="3692592"/>
            <a:ext cx="1543213" cy="1451326"/>
            <a:chOff x="1897771" y="4065972"/>
            <a:chExt cx="2057617" cy="1935101"/>
          </a:xfrm>
        </p:grpSpPr>
        <p:pic>
          <p:nvPicPr>
            <p:cNvPr id="5128" name="Picture 8" descr="git-scm.com/images/logos/downloads/Git-Icon-178...">
              <a:extLst>
                <a:ext uri="{FF2B5EF4-FFF2-40B4-BE49-F238E27FC236}">
                  <a16:creationId xmlns:a16="http://schemas.microsoft.com/office/drawing/2014/main" id="{2F2C3D62-9533-4C65-84D5-D35245ED6AC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37848" y="4423611"/>
              <a:ext cx="1577462" cy="15774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7F9C3236-4DD2-415C-8293-DD3F493AAE6E}"/>
                </a:ext>
              </a:extLst>
            </p:cNvPr>
            <p:cNvSpPr txBox="1"/>
            <p:nvPr/>
          </p:nvSpPr>
          <p:spPr>
            <a:xfrm>
              <a:off x="1897771" y="4065972"/>
              <a:ext cx="2057617" cy="276999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defTabSz="914378">
                <a:spcBef>
                  <a:spcPts val="150"/>
                </a:spcBef>
                <a:buSzPct val="100000"/>
              </a:pPr>
              <a:r>
                <a:rPr lang="en-US" sz="1350" dirty="0">
                  <a:solidFill>
                    <a:srgbClr val="575757"/>
                  </a:solidFill>
                  <a:latin typeface="Verdana"/>
                </a:rPr>
                <a:t>Collaboration Tool</a:t>
              </a:r>
              <a:endParaRPr lang="en-US" sz="900" dirty="0">
                <a:solidFill>
                  <a:prstClr val="black"/>
                </a:solidFill>
                <a:latin typeface="Verdana"/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08679034-40CB-46CD-A660-6E84875085C5}"/>
              </a:ext>
            </a:extLst>
          </p:cNvPr>
          <p:cNvGrpSpPr/>
          <p:nvPr/>
        </p:nvGrpSpPr>
        <p:grpSpPr>
          <a:xfrm>
            <a:off x="6338657" y="1772221"/>
            <a:ext cx="2084627" cy="1371120"/>
            <a:chOff x="6728481" y="1330525"/>
            <a:chExt cx="2779503" cy="1828160"/>
          </a:xfrm>
        </p:grpSpPr>
        <p:pic>
          <p:nvPicPr>
            <p:cNvPr id="5126" name="Picture 6" descr="Node.js - Wikipedia">
              <a:extLst>
                <a:ext uri="{FF2B5EF4-FFF2-40B4-BE49-F238E27FC236}">
                  <a16:creationId xmlns:a16="http://schemas.microsoft.com/office/drawing/2014/main" id="{4281CD60-D3BC-47B0-A1F6-29F617BEB23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28481" y="1687591"/>
              <a:ext cx="2405170" cy="14710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7BF9168C-373D-4314-99D3-33CF1686C9C7}"/>
                </a:ext>
              </a:extLst>
            </p:cNvPr>
            <p:cNvSpPr txBox="1"/>
            <p:nvPr/>
          </p:nvSpPr>
          <p:spPr>
            <a:xfrm>
              <a:off x="7206386" y="1330525"/>
              <a:ext cx="2301598" cy="276999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defTabSz="914378">
                <a:spcBef>
                  <a:spcPts val="150"/>
                </a:spcBef>
                <a:buSzPct val="100000"/>
              </a:pPr>
              <a:r>
                <a:rPr lang="en-US" sz="1350" dirty="0">
                  <a:solidFill>
                    <a:srgbClr val="575757"/>
                  </a:solidFill>
                  <a:latin typeface="Verdana"/>
                </a:rPr>
                <a:t>Back-end</a:t>
              </a:r>
              <a:endParaRPr lang="en-US" sz="900" dirty="0">
                <a:solidFill>
                  <a:prstClr val="black"/>
                </a:solidFill>
                <a:latin typeface="Verdana"/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9C52E256-5DDE-44E5-801E-C443BA32094E}"/>
              </a:ext>
            </a:extLst>
          </p:cNvPr>
          <p:cNvGrpSpPr/>
          <p:nvPr/>
        </p:nvGrpSpPr>
        <p:grpSpPr>
          <a:xfrm>
            <a:off x="3070608" y="3684861"/>
            <a:ext cx="3268049" cy="1266554"/>
            <a:chOff x="5791418" y="4058117"/>
            <a:chExt cx="4357399" cy="1688739"/>
          </a:xfrm>
        </p:grpSpPr>
        <p:pic>
          <p:nvPicPr>
            <p:cNvPr id="5132" name="Picture 12" descr="Amazon Web Services - Wikipedia">
              <a:extLst>
                <a:ext uri="{FF2B5EF4-FFF2-40B4-BE49-F238E27FC236}">
                  <a16:creationId xmlns:a16="http://schemas.microsoft.com/office/drawing/2014/main" id="{81B0FA99-C1C2-4E45-BDF8-DB580C2792B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91418" y="4682737"/>
              <a:ext cx="1773531" cy="10641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5140A87E-990C-40B7-BF4C-EF871CC69262}"/>
                </a:ext>
              </a:extLst>
            </p:cNvPr>
            <p:cNvSpPr txBox="1"/>
            <p:nvPr/>
          </p:nvSpPr>
          <p:spPr>
            <a:xfrm>
              <a:off x="6992339" y="4058117"/>
              <a:ext cx="2122556" cy="276999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defTabSz="914378">
                <a:spcBef>
                  <a:spcPts val="150"/>
                </a:spcBef>
                <a:buSzPct val="100000"/>
              </a:pPr>
              <a:r>
                <a:rPr lang="en-US" sz="1350" dirty="0">
                  <a:solidFill>
                    <a:srgbClr val="575757"/>
                  </a:solidFill>
                  <a:latin typeface="Verdana"/>
                </a:rPr>
                <a:t>Deployment</a:t>
              </a:r>
              <a:endParaRPr lang="en-US" sz="900" dirty="0">
                <a:solidFill>
                  <a:prstClr val="black"/>
                </a:solidFill>
                <a:latin typeface="Verdana"/>
              </a:endParaRPr>
            </a:p>
          </p:txBody>
        </p:sp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67DBD09C-3637-4B58-ABA5-EF91CE7E083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837952" y="4598162"/>
              <a:ext cx="2310865" cy="1064119"/>
            </a:xfrm>
            <a:prstGeom prst="rect">
              <a:avLst/>
            </a:prstGeom>
          </p:spPr>
        </p:pic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C926CA26-45DC-4115-B844-F4D3E507AA59}"/>
              </a:ext>
            </a:extLst>
          </p:cNvPr>
          <p:cNvGrpSpPr/>
          <p:nvPr/>
        </p:nvGrpSpPr>
        <p:grpSpPr>
          <a:xfrm>
            <a:off x="6779752" y="3692592"/>
            <a:ext cx="1936226" cy="1704298"/>
            <a:chOff x="9039668" y="3780456"/>
            <a:chExt cx="2581635" cy="2272397"/>
          </a:xfrm>
        </p:grpSpPr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F6CA569F-E794-4FF5-BA8E-8BC41E41DA4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9039668" y="3918955"/>
              <a:ext cx="2581635" cy="2133898"/>
            </a:xfrm>
            <a:prstGeom prst="rect">
              <a:avLst/>
            </a:prstGeom>
          </p:spPr>
        </p:pic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06328237-903C-440E-833C-85137DADAB73}"/>
                </a:ext>
              </a:extLst>
            </p:cNvPr>
            <p:cNvSpPr txBox="1"/>
            <p:nvPr/>
          </p:nvSpPr>
          <p:spPr>
            <a:xfrm>
              <a:off x="9457300" y="3780456"/>
              <a:ext cx="1968262" cy="276999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defTabSz="914378">
                <a:spcBef>
                  <a:spcPts val="150"/>
                </a:spcBef>
                <a:buSzPct val="100000"/>
              </a:pPr>
              <a:r>
                <a:rPr lang="en-US" sz="1350" dirty="0">
                  <a:solidFill>
                    <a:srgbClr val="575757"/>
                  </a:solidFill>
                  <a:latin typeface="Verdana"/>
                </a:rPr>
                <a:t>Wallet Provider</a:t>
              </a:r>
              <a:endParaRPr lang="en-US" sz="900" dirty="0">
                <a:solidFill>
                  <a:prstClr val="black"/>
                </a:solidFill>
                <a:latin typeface="Verdan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9467554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593281A3-38BF-46A8-B114-7930666A1223}"/>
              </a:ext>
            </a:extLst>
          </p:cNvPr>
          <p:cNvSpPr txBox="1"/>
          <p:nvPr/>
        </p:nvSpPr>
        <p:spPr>
          <a:xfrm>
            <a:off x="1447800" y="2730668"/>
            <a:ext cx="6657975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0" dirty="0">
                <a:solidFill>
                  <a:schemeClr val="accent6"/>
                </a:solidFill>
              </a:rPr>
              <a:t>Live Demonstration</a:t>
            </a:r>
          </a:p>
          <a:p>
            <a:r>
              <a:rPr lang="en-US" sz="4000" dirty="0"/>
              <a:t>Video Attached</a:t>
            </a:r>
            <a:endParaRPr lang="en-US" sz="6000" dirty="0"/>
          </a:p>
        </p:txBody>
      </p:sp>
    </p:spTree>
    <p:extLst>
      <p:ext uri="{BB962C8B-B14F-4D97-AF65-F5344CB8AC3E}">
        <p14:creationId xmlns:p14="http://schemas.microsoft.com/office/powerpoint/2010/main" val="8322569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92D050">
            <a:alpha val="94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799A8B4F-0FED-46C0-9186-5A8E116D874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281678" y="0"/>
            <a:ext cx="4862322" cy="6858000"/>
          </a:xfrm>
          <a:prstGeom prst="rect">
            <a:avLst/>
          </a:prstGeom>
          <a:gradFill>
            <a:gsLst>
              <a:gs pos="0">
                <a:schemeClr val="accent1">
                  <a:lumMod val="100000"/>
                  <a:alpha val="82000"/>
                </a:schemeClr>
              </a:gs>
              <a:gs pos="25000">
                <a:schemeClr val="accent1">
                  <a:alpha val="60000"/>
                </a:schemeClr>
              </a:gs>
              <a:gs pos="94000">
                <a:schemeClr val="bg2">
                  <a:lumMod val="75000"/>
                </a:schemeClr>
              </a:gs>
              <a:gs pos="100000">
                <a:schemeClr val="bg2">
                  <a:lumMod val="7500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DA6861EE-7660-46C9-80BD-173B8F7454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2E519AF-5134-4713-95C5-3F62704ADD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87363"/>
            <a:ext cx="6230407" cy="1454051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defTabSz="914400"/>
            <a:r>
              <a:rPr lang="en-US" sz="4000" dirty="0">
                <a:solidFill>
                  <a:srgbClr val="000000"/>
                </a:solidFill>
              </a:rPr>
              <a:t>Future Development Aspect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6A6A888-7FC7-4818-96FC-D03F1E30052C}"/>
              </a:ext>
            </a:extLst>
          </p:cNvPr>
          <p:cNvSpPr txBox="1"/>
          <p:nvPr/>
        </p:nvSpPr>
        <p:spPr>
          <a:xfrm>
            <a:off x="290994" y="1541414"/>
            <a:ext cx="3713324" cy="44321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342900" indent="-228600" defTabSz="9144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</a:rPr>
              <a:t>Introducing the component of time and deadlines, so that if approvals don’t get confirmed in a specific time-frame, the Spending Requests become null and void and Ether amount gets returned to donor account</a:t>
            </a:r>
          </a:p>
          <a:p>
            <a:pPr marL="342900" indent="-228600" defTabSz="9144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400" dirty="0">
              <a:solidFill>
                <a:srgbClr val="000000"/>
              </a:solidFill>
            </a:endParaRPr>
          </a:p>
          <a:p>
            <a:pPr marL="342900" indent="-228600" defTabSz="9144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</a:rPr>
              <a:t>Associating each Campaign address with the Campaign purpose for better visualization to viewers.</a:t>
            </a:r>
          </a:p>
          <a:p>
            <a:pPr marL="342900" indent="-228600" defTabSz="9144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400" dirty="0">
              <a:solidFill>
                <a:srgbClr val="000000"/>
              </a:solidFill>
            </a:endParaRPr>
          </a:p>
          <a:p>
            <a:pPr marL="342900" indent="-228600" defTabSz="9144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</a:rPr>
              <a:t>For scalability, when more users access the Application, then we can deploy it on AWS with auto-scaling to cater to the demands of new users.</a:t>
            </a:r>
          </a:p>
          <a:p>
            <a:pPr indent="-228600" defTabSz="9144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38A69B74-22E3-47CC-823F-18BE7930C8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67227" y="2960687"/>
            <a:ext cx="2001561" cy="2668748"/>
          </a:xfrm>
          <a:prstGeom prst="ellipse">
            <a:avLst/>
          </a:prstGeom>
          <a:solidFill>
            <a:srgbClr val="FFFFFF"/>
          </a:solidFill>
          <a:ln>
            <a:gradFill>
              <a:gsLst>
                <a:gs pos="0">
                  <a:schemeClr val="accent1">
                    <a:lumMod val="40000"/>
                    <a:lumOff val="60000"/>
                  </a:schemeClr>
                </a:gs>
                <a:gs pos="23000">
                  <a:schemeClr val="accent1">
                    <a:lumMod val="45000"/>
                    <a:lumOff val="55000"/>
                  </a:schemeClr>
                </a:gs>
                <a:gs pos="83000">
                  <a:schemeClr val="bg2">
                    <a:lumMod val="75000"/>
                  </a:schemeClr>
                </a:gs>
                <a:gs pos="100000">
                  <a:schemeClr val="bg2">
                    <a:lumMod val="75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Freeform 71">
            <a:extLst>
              <a:ext uri="{FF2B5EF4-FFF2-40B4-BE49-F238E27FC236}">
                <a16:creationId xmlns:a16="http://schemas.microsoft.com/office/drawing/2014/main" id="{1778637B-5DB8-4A75-B2E6-FC2B1BB9A7D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117760" y="2"/>
            <a:ext cx="3026240" cy="3428147"/>
          </a:xfrm>
          <a:custGeom>
            <a:avLst/>
            <a:gdLst>
              <a:gd name="connsiteX0" fmla="*/ 350825 w 4034987"/>
              <a:gd name="connsiteY0" fmla="*/ 0 h 3428147"/>
              <a:gd name="connsiteX1" fmla="*/ 4034987 w 4034987"/>
              <a:gd name="connsiteY1" fmla="*/ 0 h 3428147"/>
              <a:gd name="connsiteX2" fmla="*/ 4034987 w 4034987"/>
              <a:gd name="connsiteY2" fmla="*/ 2505205 h 3428147"/>
              <a:gd name="connsiteX3" fmla="*/ 3951822 w 4034987"/>
              <a:gd name="connsiteY3" fmla="*/ 2616420 h 3428147"/>
              <a:gd name="connsiteX4" fmla="*/ 2230590 w 4034987"/>
              <a:gd name="connsiteY4" fmla="*/ 3428147 h 3428147"/>
              <a:gd name="connsiteX5" fmla="*/ 0 w 4034987"/>
              <a:gd name="connsiteY5" fmla="*/ 1197557 h 3428147"/>
              <a:gd name="connsiteX6" fmla="*/ 269220 w 4034987"/>
              <a:gd name="connsiteY6" fmla="*/ 134326 h 34281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34987" h="3428147">
                <a:moveTo>
                  <a:pt x="350825" y="0"/>
                </a:moveTo>
                <a:lnTo>
                  <a:pt x="4034987" y="0"/>
                </a:lnTo>
                <a:lnTo>
                  <a:pt x="4034987" y="2505205"/>
                </a:lnTo>
                <a:lnTo>
                  <a:pt x="3951822" y="2616420"/>
                </a:lnTo>
                <a:cubicBezTo>
                  <a:pt x="3542699" y="3112162"/>
                  <a:pt x="2923546" y="3428147"/>
                  <a:pt x="2230590" y="3428147"/>
                </a:cubicBezTo>
                <a:cubicBezTo>
                  <a:pt x="998669" y="3428147"/>
                  <a:pt x="0" y="2429478"/>
                  <a:pt x="0" y="1197557"/>
                </a:cubicBezTo>
                <a:cubicBezTo>
                  <a:pt x="0" y="812582"/>
                  <a:pt x="97526" y="450385"/>
                  <a:pt x="269220" y="134326"/>
                </a:cubicBezTo>
                <a:close/>
              </a:path>
            </a:pathLst>
          </a:custGeom>
          <a:solidFill>
            <a:srgbClr val="FFFFFF"/>
          </a:solidFill>
          <a:ln>
            <a:gradFill>
              <a:gsLst>
                <a:gs pos="0">
                  <a:schemeClr val="accent1">
                    <a:lumMod val="40000"/>
                    <a:lumOff val="60000"/>
                  </a:schemeClr>
                </a:gs>
                <a:gs pos="23000">
                  <a:schemeClr val="accent1">
                    <a:lumMod val="45000"/>
                    <a:lumOff val="55000"/>
                  </a:schemeClr>
                </a:gs>
                <a:gs pos="83000">
                  <a:schemeClr val="bg2">
                    <a:lumMod val="75000"/>
                  </a:schemeClr>
                </a:gs>
                <a:gs pos="100000">
                  <a:schemeClr val="bg2">
                    <a:lumMod val="75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10" name="Graphic 9" descr="Coins">
            <a:extLst>
              <a:ext uri="{FF2B5EF4-FFF2-40B4-BE49-F238E27FC236}">
                <a16:creationId xmlns:a16="http://schemas.microsoft.com/office/drawing/2014/main" id="{F082D838-F23F-4596-920D-69A0B726E11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569883" y="223418"/>
            <a:ext cx="2404379" cy="2404379"/>
          </a:xfrm>
          <a:prstGeom prst="rect">
            <a:avLst/>
          </a:prstGeom>
        </p:spPr>
      </p:pic>
      <p:pic>
        <p:nvPicPr>
          <p:cNvPr id="5" name="Graphic 4" descr="Stopwatch">
            <a:extLst>
              <a:ext uri="{FF2B5EF4-FFF2-40B4-BE49-F238E27FC236}">
                <a16:creationId xmlns:a16="http://schemas.microsoft.com/office/drawing/2014/main" id="{4B153AF3-318D-42B6-8227-23B56B803E6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885359" y="3604538"/>
            <a:ext cx="1355369" cy="1355369"/>
          </a:xfrm>
          <a:prstGeom prst="rect">
            <a:avLst/>
          </a:prstGeom>
        </p:spPr>
      </p:pic>
      <p:sp>
        <p:nvSpPr>
          <p:cNvPr id="26" name="Freeform 75">
            <a:extLst>
              <a:ext uri="{FF2B5EF4-FFF2-40B4-BE49-F238E27FC236}">
                <a16:creationId xmlns:a16="http://schemas.microsoft.com/office/drawing/2014/main" id="{0035A30C-45F3-4EFB-B2E8-6E2A11843D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794348" y="4258570"/>
            <a:ext cx="2349652" cy="2599430"/>
          </a:xfrm>
          <a:custGeom>
            <a:avLst/>
            <a:gdLst>
              <a:gd name="connsiteX0" fmla="*/ 1612418 w 3061881"/>
              <a:gd name="connsiteY0" fmla="*/ 0 h 2540529"/>
              <a:gd name="connsiteX1" fmla="*/ 3030226 w 3061881"/>
              <a:gd name="connsiteY1" fmla="*/ 843844 h 2540529"/>
              <a:gd name="connsiteX2" fmla="*/ 3061881 w 3061881"/>
              <a:gd name="connsiteY2" fmla="*/ 909556 h 2540529"/>
              <a:gd name="connsiteX3" fmla="*/ 3061881 w 3061881"/>
              <a:gd name="connsiteY3" fmla="*/ 2315281 h 2540529"/>
              <a:gd name="connsiteX4" fmla="*/ 3030226 w 3061881"/>
              <a:gd name="connsiteY4" fmla="*/ 2380992 h 2540529"/>
              <a:gd name="connsiteX5" fmla="*/ 2949460 w 3061881"/>
              <a:gd name="connsiteY5" fmla="*/ 2513937 h 2540529"/>
              <a:gd name="connsiteX6" fmla="*/ 2929575 w 3061881"/>
              <a:gd name="connsiteY6" fmla="*/ 2540529 h 2540529"/>
              <a:gd name="connsiteX7" fmla="*/ 295261 w 3061881"/>
              <a:gd name="connsiteY7" fmla="*/ 2540529 h 2540529"/>
              <a:gd name="connsiteX8" fmla="*/ 275376 w 3061881"/>
              <a:gd name="connsiteY8" fmla="*/ 2513937 h 2540529"/>
              <a:gd name="connsiteX9" fmla="*/ 0 w 3061881"/>
              <a:gd name="connsiteY9" fmla="*/ 1612418 h 2540529"/>
              <a:gd name="connsiteX10" fmla="*/ 1612418 w 3061881"/>
              <a:gd name="connsiteY10" fmla="*/ 0 h 25405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061881" h="2540529">
                <a:moveTo>
                  <a:pt x="1612418" y="0"/>
                </a:moveTo>
                <a:cubicBezTo>
                  <a:pt x="2224646" y="0"/>
                  <a:pt x="2757180" y="341213"/>
                  <a:pt x="3030226" y="843844"/>
                </a:cubicBezTo>
                <a:lnTo>
                  <a:pt x="3061881" y="909556"/>
                </a:lnTo>
                <a:lnTo>
                  <a:pt x="3061881" y="2315281"/>
                </a:lnTo>
                <a:lnTo>
                  <a:pt x="3030226" y="2380992"/>
                </a:lnTo>
                <a:cubicBezTo>
                  <a:pt x="3005404" y="2426686"/>
                  <a:pt x="2978437" y="2471046"/>
                  <a:pt x="2949460" y="2513937"/>
                </a:cubicBezTo>
                <a:lnTo>
                  <a:pt x="2929575" y="2540529"/>
                </a:lnTo>
                <a:lnTo>
                  <a:pt x="295261" y="2540529"/>
                </a:lnTo>
                <a:lnTo>
                  <a:pt x="275376" y="2513937"/>
                </a:lnTo>
                <a:cubicBezTo>
                  <a:pt x="101518" y="2256593"/>
                  <a:pt x="0" y="1946361"/>
                  <a:pt x="0" y="1612418"/>
                </a:cubicBezTo>
                <a:cubicBezTo>
                  <a:pt x="0" y="721904"/>
                  <a:pt x="721904" y="0"/>
                  <a:pt x="1612418" y="0"/>
                </a:cubicBezTo>
                <a:close/>
              </a:path>
            </a:pathLst>
          </a:custGeom>
          <a:solidFill>
            <a:srgbClr val="FFFFFF"/>
          </a:solidFill>
          <a:ln>
            <a:gradFill>
              <a:gsLst>
                <a:gs pos="0">
                  <a:schemeClr val="accent1">
                    <a:lumMod val="40000"/>
                    <a:lumOff val="60000"/>
                  </a:schemeClr>
                </a:gs>
                <a:gs pos="23000">
                  <a:schemeClr val="accent1">
                    <a:lumMod val="45000"/>
                    <a:lumOff val="55000"/>
                  </a:schemeClr>
                </a:gs>
                <a:gs pos="83000">
                  <a:schemeClr val="bg2">
                    <a:lumMod val="75000"/>
                  </a:schemeClr>
                </a:gs>
                <a:gs pos="100000">
                  <a:schemeClr val="bg2">
                    <a:lumMod val="75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13" name="Graphic 12" descr="Clipboard">
            <a:extLst>
              <a:ext uri="{FF2B5EF4-FFF2-40B4-BE49-F238E27FC236}">
                <a16:creationId xmlns:a16="http://schemas.microsoft.com/office/drawing/2014/main" id="{B6EF9811-3D50-4B94-BCB6-0CBF6F4164C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231486" y="5010263"/>
            <a:ext cx="1661466" cy="1661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84379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115200" y="212633"/>
            <a:ext cx="4561825" cy="377317"/>
          </a:xfrm>
        </p:spPr>
        <p:txBody>
          <a:bodyPr/>
          <a:lstStyle/>
          <a:p>
            <a:r>
              <a:rPr lang="en-US" sz="2400" noProof="0" dirty="0">
                <a:latin typeface="Calibri Light" panose="020F0302020204030204" pitchFamily="34" charset="0"/>
                <a:cs typeface="Calibri Light" panose="020F0302020204030204" pitchFamily="34" charset="0"/>
              </a:rPr>
              <a:t>Introduction – Alwin Eldhose Babu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EA798A7-6E8B-45AD-B0BE-A3AB3C449368}"/>
              </a:ext>
            </a:extLst>
          </p:cNvPr>
          <p:cNvSpPr txBox="1"/>
          <p:nvPr/>
        </p:nvSpPr>
        <p:spPr>
          <a:xfrm>
            <a:off x="128587" y="1464707"/>
            <a:ext cx="5595938" cy="1420902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1200" b="1" dirty="0"/>
              <a:t>Professional Background:</a:t>
            </a:r>
          </a:p>
          <a:p>
            <a:pPr>
              <a:spcBef>
                <a:spcPts val="200"/>
              </a:spcBef>
              <a:buSzPct val="100000"/>
            </a:pPr>
            <a:endParaRPr lang="en-US" sz="1200" dirty="0"/>
          </a:p>
          <a:p>
            <a:pPr marL="171450" indent="-1714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200" dirty="0"/>
              <a:t>Graduated from Sardar Patel Institute of Technology with Bachelors in Electronics Engineering</a:t>
            </a:r>
          </a:p>
          <a:p>
            <a:pPr>
              <a:spcBef>
                <a:spcPts val="200"/>
              </a:spcBef>
              <a:buSzPct val="100000"/>
            </a:pPr>
            <a:endParaRPr lang="en-US" sz="1200" dirty="0"/>
          </a:p>
          <a:p>
            <a:pPr marL="171450" indent="-1714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200" dirty="0"/>
              <a:t>Expertise in implementing cyber solutions for clients across industries</a:t>
            </a:r>
          </a:p>
          <a:p>
            <a:pPr>
              <a:spcBef>
                <a:spcPts val="200"/>
              </a:spcBef>
              <a:buSzPct val="100000"/>
            </a:pPr>
            <a:endParaRPr lang="en-US" sz="12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F73EA80-D6DB-4FA7-A8FB-E89B4C912A00}"/>
              </a:ext>
            </a:extLst>
          </p:cNvPr>
          <p:cNvSpPr txBox="1"/>
          <p:nvPr/>
        </p:nvSpPr>
        <p:spPr>
          <a:xfrm>
            <a:off x="128587" y="4077548"/>
            <a:ext cx="5995988" cy="1395254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1200" b="1" dirty="0"/>
              <a:t>Blockchain Background and Experience:</a:t>
            </a:r>
          </a:p>
          <a:p>
            <a:pPr>
              <a:spcBef>
                <a:spcPts val="200"/>
              </a:spcBef>
              <a:buSzPct val="100000"/>
            </a:pPr>
            <a:endParaRPr lang="en-US" sz="1200" dirty="0"/>
          </a:p>
          <a:p>
            <a:pPr marL="171450" indent="-1714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200" dirty="0"/>
              <a:t>Led the BG-02 Apprentice Cohort as USI Coordinator, involved in day-to-day mentoring activities for BG-02 members</a:t>
            </a:r>
          </a:p>
          <a:p>
            <a:pPr marL="171450" indent="-1714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171450" indent="-1714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200" dirty="0"/>
              <a:t>Associated with Blockchain Learning Guild team since 2018, developing learning content for the participants. 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E45993C-5B92-4F8B-A924-B90299FCEA1A}"/>
              </a:ext>
            </a:extLst>
          </p:cNvPr>
          <p:cNvSpPr txBox="1"/>
          <p:nvPr/>
        </p:nvSpPr>
        <p:spPr>
          <a:xfrm>
            <a:off x="266699" y="811885"/>
            <a:ext cx="8305801" cy="430887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1400" dirty="0">
                <a:solidFill>
                  <a:schemeClr val="bg2">
                    <a:lumMod val="50000"/>
                  </a:schemeClr>
                </a:solidFill>
              </a:rPr>
              <a:t>Throughout college I was interested in Coding and Cryptography, which naturally led me to Blockchain and I’ve been hooked up developing my blockchain technical skills ever since! 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790DEF3B-040F-4A98-87AB-B35AA985528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62462" y="1576697"/>
            <a:ext cx="3119589" cy="31195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1749436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32E3633-33E5-4576-8CB3-6378A78C63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054" y="207131"/>
            <a:ext cx="7336631" cy="511969"/>
          </a:xfrm>
        </p:spPr>
        <p:txBody>
          <a:bodyPr>
            <a:normAutofit fontScale="90000"/>
          </a:bodyPr>
          <a:lstStyle/>
          <a:p>
            <a:pPr algn="ctr"/>
            <a:r>
              <a:rPr lang="en-US" dirty="0"/>
              <a:t>Business Cas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125BC0C-9ABF-41A5-8B52-78D8F7A9BC77}"/>
              </a:ext>
            </a:extLst>
          </p:cNvPr>
          <p:cNvSpPr txBox="1"/>
          <p:nvPr/>
        </p:nvSpPr>
        <p:spPr>
          <a:xfrm>
            <a:off x="541289" y="871760"/>
            <a:ext cx="8265319" cy="13395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51" dirty="0"/>
              <a:t>Inspiration:</a:t>
            </a:r>
          </a:p>
          <a:p>
            <a:endParaRPr lang="en-US" sz="1351" dirty="0"/>
          </a:p>
          <a:p>
            <a:r>
              <a:rPr lang="en-US" sz="1351" dirty="0"/>
              <a:t>With the ongoing COVID’19 pandemic raging all over the world leaving a large section of the society vulnerable, our vision was to create an Application that could alleviate people from their suffering and contribute in a meaningful way to reduce devastating effects of Coronavirus.</a:t>
            </a:r>
          </a:p>
          <a:p>
            <a:r>
              <a:rPr lang="en-US" sz="1351" dirty="0"/>
              <a:t>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1CC9E3C-B2CA-4430-9F2A-6DB40EDC8BB4}"/>
              </a:ext>
            </a:extLst>
          </p:cNvPr>
          <p:cNvSpPr txBox="1"/>
          <p:nvPr/>
        </p:nvSpPr>
        <p:spPr>
          <a:xfrm>
            <a:off x="541289" y="2211355"/>
            <a:ext cx="4264819" cy="17553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51" dirty="0"/>
              <a:t>Challenge:</a:t>
            </a:r>
          </a:p>
          <a:p>
            <a:endParaRPr lang="en-US" sz="1351" dirty="0"/>
          </a:p>
          <a:p>
            <a:r>
              <a:rPr lang="en-US" sz="1351" dirty="0"/>
              <a:t>While several Worldwide Agencies stepped in to collect funds and drive Donation Campaigns for different sections including medical workers, </a:t>
            </a:r>
            <a:r>
              <a:rPr lang="en-US" sz="1351" dirty="0" err="1"/>
              <a:t>Covid</a:t>
            </a:r>
            <a:r>
              <a:rPr lang="en-US" sz="1351" dirty="0"/>
              <a:t> patients. There was a spurt in unethical groups, who collected money from the well-intentioned public and used it for their personal benefits. 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51873E6-1D8E-4E67-A840-3C6251B0CD12}"/>
              </a:ext>
            </a:extLst>
          </p:cNvPr>
          <p:cNvSpPr/>
          <p:nvPr/>
        </p:nvSpPr>
        <p:spPr>
          <a:xfrm>
            <a:off x="541288" y="4329349"/>
            <a:ext cx="3916413" cy="3048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600"/>
              </a:spcAft>
            </a:pPr>
            <a:r>
              <a:rPr lang="en-US" sz="1351" dirty="0">
                <a:highlight>
                  <a:srgbClr val="00FF00"/>
                </a:highlight>
                <a:ea typeface="Calibri" panose="020F0502020204030204" pitchFamily="34" charset="0"/>
                <a:cs typeface="Times New Roman" panose="02020603050405020304" pitchFamily="18" charset="0"/>
              </a:rPr>
              <a:t>From this challenge arose our problem statement: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61610AD-12EB-4DFC-B19D-C265E84767F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57867" y="2099443"/>
            <a:ext cx="3848741" cy="2204743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BE30B39F-252C-42D7-9BE0-CC58C2415F7E}"/>
              </a:ext>
            </a:extLst>
          </p:cNvPr>
          <p:cNvSpPr/>
          <p:nvPr/>
        </p:nvSpPr>
        <p:spPr>
          <a:xfrm>
            <a:off x="376914" y="4844641"/>
            <a:ext cx="851239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57168" indent="-257168">
              <a:buFont typeface="Wingdings" panose="05000000000000000000" pitchFamily="2" charset="2"/>
              <a:buChar char="Ø"/>
            </a:pPr>
            <a:r>
              <a:rPr lang="en-US" sz="2400" b="1" dirty="0">
                <a:ea typeface="Calibri" panose="020F0502020204030204" pitchFamily="34" charset="0"/>
                <a:cs typeface="Times New Roman" panose="02020603050405020304" pitchFamily="18" charset="0"/>
              </a:rPr>
              <a:t>Bringing Accountability and Transparency into Donation system</a:t>
            </a:r>
            <a:endParaRPr lang="en-US" sz="2400" b="1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33EA07F-9990-4E50-8DE0-A02B2E9D8438}"/>
              </a:ext>
            </a:extLst>
          </p:cNvPr>
          <p:cNvSpPr/>
          <p:nvPr/>
        </p:nvSpPr>
        <p:spPr>
          <a:xfrm>
            <a:off x="376914" y="5572893"/>
            <a:ext cx="8201025" cy="9069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  <a:spcAft>
                <a:spcPts val="600"/>
              </a:spcAft>
            </a:pPr>
            <a:r>
              <a:rPr lang="en-US" sz="1600" u="sng" dirty="0">
                <a:ea typeface="Calibri" panose="020F0502020204030204" pitchFamily="34" charset="0"/>
                <a:cs typeface="Times New Roman" panose="02020603050405020304" pitchFamily="18" charset="0"/>
              </a:rPr>
              <a:t>Accountability</a:t>
            </a:r>
            <a:r>
              <a:rPr lang="en-US" sz="1351" dirty="0">
                <a:ea typeface="Calibri" panose="020F0502020204030204" pitchFamily="34" charset="0"/>
                <a:cs typeface="Times New Roman" panose="02020603050405020304" pitchFamily="18" charset="0"/>
              </a:rPr>
              <a:t>: Increasing trust between Donors and Charity Organizations by introducing a system where Organizations can justify their financial decisions to the donors.</a:t>
            </a:r>
          </a:p>
          <a:p>
            <a:pPr algn="just">
              <a:lnSpc>
                <a:spcPct val="107000"/>
              </a:lnSpc>
              <a:spcAft>
                <a:spcPts val="600"/>
              </a:spcAft>
            </a:pPr>
            <a:r>
              <a:rPr lang="en-US" sz="1600" u="sng" dirty="0">
                <a:ea typeface="Calibri" panose="020F0502020204030204" pitchFamily="34" charset="0"/>
                <a:cs typeface="Times New Roman" panose="02020603050405020304" pitchFamily="18" charset="0"/>
              </a:rPr>
              <a:t>Transparency</a:t>
            </a:r>
            <a:r>
              <a:rPr lang="en-US" sz="1351" dirty="0">
                <a:ea typeface="Calibri" panose="020F0502020204030204" pitchFamily="34" charset="0"/>
                <a:cs typeface="Times New Roman" panose="02020603050405020304" pitchFamily="18" charset="0"/>
              </a:rPr>
              <a:t>: Donors should have real time insight into how their money is being spent.   </a:t>
            </a:r>
          </a:p>
        </p:txBody>
      </p:sp>
    </p:spTree>
    <p:extLst>
      <p:ext uri="{BB962C8B-B14F-4D97-AF65-F5344CB8AC3E}">
        <p14:creationId xmlns:p14="http://schemas.microsoft.com/office/powerpoint/2010/main" val="307058399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C31112-E2A1-4CE4-BC0E-B59D74C162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9584" y="289388"/>
            <a:ext cx="7765256" cy="511969"/>
          </a:xfrm>
        </p:spPr>
        <p:txBody>
          <a:bodyPr>
            <a:normAutofit fontScale="90000"/>
          </a:bodyPr>
          <a:lstStyle/>
          <a:p>
            <a:pPr algn="ctr"/>
            <a:r>
              <a:rPr lang="en-US" dirty="0"/>
              <a:t>Solution: </a:t>
            </a:r>
            <a:r>
              <a:rPr lang="en-US" dirty="0" err="1"/>
              <a:t>Covid</a:t>
            </a:r>
            <a:r>
              <a:rPr lang="en-US" dirty="0"/>
              <a:t> Donation Manager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7DF6D2C-0527-4FBE-96D0-F89BB83FB569}"/>
              </a:ext>
            </a:extLst>
          </p:cNvPr>
          <p:cNvSpPr/>
          <p:nvPr/>
        </p:nvSpPr>
        <p:spPr>
          <a:xfrm>
            <a:off x="409586" y="1022973"/>
            <a:ext cx="7586663" cy="10298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4308" indent="-214308">
              <a:lnSpc>
                <a:spcPct val="107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35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thereum based portal which allows Ether payments over a decentralized network would be the way to solve our problem. </a:t>
            </a:r>
          </a:p>
          <a:p>
            <a:pPr marL="214308" indent="-214308">
              <a:buFont typeface="Arial" panose="020B0604020202020204" pitchFamily="34" charset="0"/>
              <a:buChar char="•"/>
            </a:pPr>
            <a:r>
              <a:rPr lang="en-US" sz="135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ther stored in our Smart-Contracts and disbursed in-accordance with principles of Accountability and Transparency</a:t>
            </a:r>
            <a:endParaRPr lang="en-US" sz="1351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4228839-88CE-4C23-A848-6D77B3CE015A}"/>
              </a:ext>
            </a:extLst>
          </p:cNvPr>
          <p:cNvSpPr/>
          <p:nvPr/>
        </p:nvSpPr>
        <p:spPr>
          <a:xfrm>
            <a:off x="114789" y="5365590"/>
            <a:ext cx="9153047" cy="12030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600"/>
              </a:spcAft>
            </a:pPr>
            <a:r>
              <a:rPr lang="en-US" sz="1351" dirty="0">
                <a:highlight>
                  <a:srgbClr val="00FF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takeholders:</a:t>
            </a:r>
          </a:p>
          <a:p>
            <a:pPr>
              <a:lnSpc>
                <a:spcPct val="107000"/>
              </a:lnSpc>
              <a:spcAft>
                <a:spcPts val="600"/>
              </a:spcAft>
            </a:pPr>
            <a:r>
              <a:rPr lang="en-US" sz="1351" u="sng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onor</a:t>
            </a:r>
            <a:r>
              <a:rPr lang="en-US" sz="135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: Well intentioned members of the public (like You and Me!) who wish to Donate to a trustworthy </a:t>
            </a:r>
            <a:r>
              <a:rPr lang="en-US" sz="1351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rganisation</a:t>
            </a:r>
            <a:endParaRPr lang="en-US" sz="135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600"/>
              </a:spcAft>
            </a:pPr>
            <a:r>
              <a:rPr lang="en-US" sz="1351" u="sng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ampaign Manager</a:t>
            </a:r>
            <a:r>
              <a:rPr lang="en-US" sz="135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Member of Charity </a:t>
            </a:r>
            <a:r>
              <a:rPr lang="en-US" sz="1351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rganisation</a:t>
            </a:r>
            <a:r>
              <a:rPr lang="en-US" sz="135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351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charge</a:t>
            </a:r>
            <a:r>
              <a:rPr lang="en-US" sz="135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of a specific campaign </a:t>
            </a:r>
          </a:p>
          <a:p>
            <a:pPr>
              <a:lnSpc>
                <a:spcPct val="107000"/>
              </a:lnSpc>
              <a:spcAft>
                <a:spcPts val="600"/>
              </a:spcAft>
            </a:pPr>
            <a:r>
              <a:rPr lang="en-US" sz="1351" u="sng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endor</a:t>
            </a:r>
            <a:r>
              <a:rPr lang="en-US" sz="135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Third party groups responsible for delivering services/goods to the Charity for successful execution of the Campaign. </a:t>
            </a:r>
          </a:p>
        </p:txBody>
      </p:sp>
      <p:pic>
        <p:nvPicPr>
          <p:cNvPr id="6" name="Picture 5" descr="Diagram&#10;&#10;Description automatically generated">
            <a:extLst>
              <a:ext uri="{FF2B5EF4-FFF2-40B4-BE49-F238E27FC236}">
                <a16:creationId xmlns:a16="http://schemas.microsoft.com/office/drawing/2014/main" id="{9F017D17-78B1-4E95-AF42-C1477E25801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5847" y="1997317"/>
            <a:ext cx="6327003" cy="3329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20598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C31112-E2A1-4CE4-BC0E-B59D74C162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1347" y="144060"/>
            <a:ext cx="7765256" cy="511969"/>
          </a:xfrm>
        </p:spPr>
        <p:txBody>
          <a:bodyPr>
            <a:normAutofit fontScale="90000"/>
          </a:bodyPr>
          <a:lstStyle/>
          <a:p>
            <a:pPr algn="ctr"/>
            <a:r>
              <a:rPr lang="en-US" dirty="0"/>
              <a:t>Technical Aspects</a:t>
            </a:r>
          </a:p>
        </p:txBody>
      </p:sp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6957A487-3CDC-4398-9A3E-C78DF57AEA6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24821168"/>
              </p:ext>
            </p:extLst>
          </p:nvPr>
        </p:nvGraphicFramePr>
        <p:xfrm>
          <a:off x="165500" y="1161081"/>
          <a:ext cx="7637861" cy="52968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5" name="Graphic 4" descr="Dollar">
            <a:extLst>
              <a:ext uri="{FF2B5EF4-FFF2-40B4-BE49-F238E27FC236}">
                <a16:creationId xmlns:a16="http://schemas.microsoft.com/office/drawing/2014/main" id="{7957E1CC-3E03-486B-9209-5351A843B50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076603" y="1251465"/>
            <a:ext cx="704850" cy="704850"/>
          </a:xfrm>
          <a:prstGeom prst="rect">
            <a:avLst/>
          </a:prstGeom>
        </p:spPr>
      </p:pic>
      <p:pic>
        <p:nvPicPr>
          <p:cNvPr id="9" name="Graphic 8" descr="Checklist RTL">
            <a:extLst>
              <a:ext uri="{FF2B5EF4-FFF2-40B4-BE49-F238E27FC236}">
                <a16:creationId xmlns:a16="http://schemas.microsoft.com/office/drawing/2014/main" id="{1FD25508-5CCA-47D9-840B-3B35622AE1B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972425" y="2428875"/>
            <a:ext cx="914400" cy="914400"/>
          </a:xfrm>
          <a:prstGeom prst="rect">
            <a:avLst/>
          </a:prstGeom>
        </p:spPr>
      </p:pic>
      <p:pic>
        <p:nvPicPr>
          <p:cNvPr id="15" name="Graphic 14" descr="Connections">
            <a:extLst>
              <a:ext uri="{FF2B5EF4-FFF2-40B4-BE49-F238E27FC236}">
                <a16:creationId xmlns:a16="http://schemas.microsoft.com/office/drawing/2014/main" id="{366511C4-1E0A-48F3-902D-84D741557AD9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972425" y="3671406"/>
            <a:ext cx="914400" cy="914400"/>
          </a:xfrm>
          <a:prstGeom prst="rect">
            <a:avLst/>
          </a:prstGeom>
        </p:spPr>
      </p:pic>
      <p:pic>
        <p:nvPicPr>
          <p:cNvPr id="17" name="Graphic 16" descr="Handshake">
            <a:extLst>
              <a:ext uri="{FF2B5EF4-FFF2-40B4-BE49-F238E27FC236}">
                <a16:creationId xmlns:a16="http://schemas.microsoft.com/office/drawing/2014/main" id="{7D79F1CE-4590-4D14-BCEF-B0AF3C352E11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7972425" y="5010150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847785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8D1518-D0BA-478F-A6D2-C5F0900943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1648" y="144992"/>
            <a:ext cx="2850041" cy="707267"/>
          </a:xfrm>
        </p:spPr>
        <p:txBody>
          <a:bodyPr vert="horz" lIns="68580" tIns="34291" rIns="68580" bIns="34291" rtlCol="0" anchor="ctr">
            <a:noAutofit/>
          </a:bodyPr>
          <a:lstStyle/>
          <a:p>
            <a:r>
              <a:rPr lang="en-US" sz="4000" dirty="0"/>
              <a:t>Process Flow</a:t>
            </a:r>
          </a:p>
        </p:txBody>
      </p:sp>
      <p:pic>
        <p:nvPicPr>
          <p:cNvPr id="5" name="Picture 4" descr="Diagram&#10;&#10;Description automatically generated">
            <a:extLst>
              <a:ext uri="{FF2B5EF4-FFF2-40B4-BE49-F238E27FC236}">
                <a16:creationId xmlns:a16="http://schemas.microsoft.com/office/drawing/2014/main" id="{AED1418D-249B-43B8-8938-97A7B78192B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568" y="852259"/>
            <a:ext cx="8062913" cy="5700941"/>
          </a:xfrm>
          <a:prstGeom prst="rect">
            <a:avLst/>
          </a:prstGeom>
          <a:ln w="15875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61189039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C31112-E2A1-4CE4-BC0E-B59D74C162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0551" y="87608"/>
            <a:ext cx="7765256" cy="511969"/>
          </a:xfrm>
        </p:spPr>
        <p:txBody>
          <a:bodyPr>
            <a:normAutofit fontScale="90000"/>
          </a:bodyPr>
          <a:lstStyle/>
          <a:p>
            <a:pPr algn="ctr"/>
            <a:r>
              <a:rPr lang="en-US" dirty="0"/>
              <a:t>Value Addition by Blockchain </a:t>
            </a:r>
          </a:p>
        </p:txBody>
      </p:sp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F64AE11A-4F95-4BCC-BEC3-6D0A1CA20C7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63119437"/>
              </p:ext>
            </p:extLst>
          </p:nvPr>
        </p:nvGraphicFramePr>
        <p:xfrm>
          <a:off x="-133350" y="634794"/>
          <a:ext cx="9410701" cy="622320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9" name="Graphic 8" descr="Lock">
            <a:extLst>
              <a:ext uri="{FF2B5EF4-FFF2-40B4-BE49-F238E27FC236}">
                <a16:creationId xmlns:a16="http://schemas.microsoft.com/office/drawing/2014/main" id="{8E0FC0E5-350D-41D9-94CF-563596FB178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644252" y="5191125"/>
            <a:ext cx="914400" cy="914400"/>
          </a:xfrm>
          <a:prstGeom prst="rect">
            <a:avLst/>
          </a:prstGeom>
        </p:spPr>
      </p:pic>
      <p:pic>
        <p:nvPicPr>
          <p:cNvPr id="11" name="Graphic 10" descr="Bank">
            <a:extLst>
              <a:ext uri="{FF2B5EF4-FFF2-40B4-BE49-F238E27FC236}">
                <a16:creationId xmlns:a16="http://schemas.microsoft.com/office/drawing/2014/main" id="{3B575FEE-D934-4B2A-8712-3894CC46E0F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644252" y="1209675"/>
            <a:ext cx="914400" cy="914400"/>
          </a:xfrm>
          <a:prstGeom prst="rect">
            <a:avLst/>
          </a:prstGeom>
        </p:spPr>
      </p:pic>
      <p:pic>
        <p:nvPicPr>
          <p:cNvPr id="4100" name="Picture 4" descr="Ethereum Reviews 2021: Details, Pricing, &amp; Features | G2">
            <a:extLst>
              <a:ext uri="{FF2B5EF4-FFF2-40B4-BE49-F238E27FC236}">
                <a16:creationId xmlns:a16="http://schemas.microsoft.com/office/drawing/2014/main" id="{4FEA1092-83B2-457E-A491-BF9BB507F3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7502" y="1143002"/>
            <a:ext cx="981075" cy="981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Graphic 12" descr="Boardroom">
            <a:extLst>
              <a:ext uri="{FF2B5EF4-FFF2-40B4-BE49-F238E27FC236}">
                <a16:creationId xmlns:a16="http://schemas.microsoft.com/office/drawing/2014/main" id="{07C326ED-4780-4DF6-8451-EC0FCA2F3981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924675" y="5370718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5677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E519AF-5134-4713-95C5-3F62704ADD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67026" y="98431"/>
            <a:ext cx="3733800" cy="815971"/>
          </a:xfrm>
        </p:spPr>
        <p:txBody>
          <a:bodyPr>
            <a:normAutofit/>
          </a:bodyPr>
          <a:lstStyle/>
          <a:p>
            <a:r>
              <a:rPr lang="en-US" sz="4000" dirty="0"/>
              <a:t>Smart Contract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E421D529-C8EC-41A7-93EA-3730F92616E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60524726"/>
              </p:ext>
            </p:extLst>
          </p:nvPr>
        </p:nvGraphicFramePr>
        <p:xfrm>
          <a:off x="242888" y="1428752"/>
          <a:ext cx="8501062" cy="210502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721734">
                  <a:extLst>
                    <a:ext uri="{9D8B030D-6E8A-4147-A177-3AD203B41FA5}">
                      <a16:colId xmlns:a16="http://schemas.microsoft.com/office/drawing/2014/main" val="896421407"/>
                    </a:ext>
                  </a:extLst>
                </a:gridCol>
                <a:gridCol w="6779328">
                  <a:extLst>
                    <a:ext uri="{9D8B030D-6E8A-4147-A177-3AD203B41FA5}">
                      <a16:colId xmlns:a16="http://schemas.microsoft.com/office/drawing/2014/main" val="3033763213"/>
                    </a:ext>
                  </a:extLst>
                </a:gridCol>
              </a:tblGrid>
              <a:tr h="39959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chemeClr val="tx1"/>
                          </a:solidFill>
                          <a:effectLst/>
                        </a:rPr>
                        <a:t>Function Names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chemeClr val="tx1"/>
                          </a:solidFill>
                          <a:effectLst/>
                        </a:rPr>
                        <a:t>Description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7004623"/>
                  </a:ext>
                </a:extLst>
              </a:tr>
              <a:tr h="304194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Campaign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Constructor function that sets the minimum Contribution and the owner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0782107"/>
                  </a:ext>
                </a:extLst>
              </a:tr>
              <a:tr h="304194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Contribute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Called when someone wants to donate money to Charity and become an approver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7442627"/>
                  </a:ext>
                </a:extLst>
              </a:tr>
              <a:tr h="304194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solidFill>
                            <a:schemeClr val="tx1"/>
                          </a:solidFill>
                          <a:effectLst/>
                        </a:rPr>
                        <a:t>CreateRequest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Called by manager to create new spending request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784220"/>
                  </a:ext>
                </a:extLst>
              </a:tr>
              <a:tr h="304194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solidFill>
                            <a:schemeClr val="tx1"/>
                          </a:solidFill>
                          <a:effectLst/>
                        </a:rPr>
                        <a:t>ApproveRequest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Called by each </a:t>
                      </a:r>
                      <a:r>
                        <a:rPr lang="en-US" sz="1400" dirty="0" err="1">
                          <a:effectLst/>
                        </a:rPr>
                        <a:t>contributer</a:t>
                      </a:r>
                      <a:r>
                        <a:rPr lang="en-US" sz="1400" dirty="0">
                          <a:effectLst/>
                        </a:rPr>
                        <a:t> to approve spending request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1200637"/>
                  </a:ext>
                </a:extLst>
              </a:tr>
              <a:tr h="48865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solidFill>
                            <a:schemeClr val="tx1"/>
                          </a:solidFill>
                          <a:effectLst/>
                        </a:rPr>
                        <a:t>FinaliseRequest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After a request has got enough approvers, manager can call this to get money sent to a vendor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0169404"/>
                  </a:ext>
                </a:extLst>
              </a:tr>
            </a:tbl>
          </a:graphicData>
        </a:graphic>
      </p:graphicFrame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3FD71D1F-6473-4423-A388-2A488613D02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6121996"/>
              </p:ext>
            </p:extLst>
          </p:nvPr>
        </p:nvGraphicFramePr>
        <p:xfrm>
          <a:off x="242888" y="4162820"/>
          <a:ext cx="8658224" cy="195420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977496">
                  <a:extLst>
                    <a:ext uri="{9D8B030D-6E8A-4147-A177-3AD203B41FA5}">
                      <a16:colId xmlns:a16="http://schemas.microsoft.com/office/drawing/2014/main" val="988854029"/>
                    </a:ext>
                  </a:extLst>
                </a:gridCol>
                <a:gridCol w="1710266">
                  <a:extLst>
                    <a:ext uri="{9D8B030D-6E8A-4147-A177-3AD203B41FA5}">
                      <a16:colId xmlns:a16="http://schemas.microsoft.com/office/drawing/2014/main" val="3363591573"/>
                    </a:ext>
                  </a:extLst>
                </a:gridCol>
                <a:gridCol w="4970462">
                  <a:extLst>
                    <a:ext uri="{9D8B030D-6E8A-4147-A177-3AD203B41FA5}">
                      <a16:colId xmlns:a16="http://schemas.microsoft.com/office/drawing/2014/main" val="2407961432"/>
                    </a:ext>
                  </a:extLst>
                </a:gridCol>
              </a:tblGrid>
              <a:tr h="46951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ajor Variables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err="1">
                          <a:solidFill>
                            <a:schemeClr val="tx1"/>
                          </a:solidFill>
                          <a:effectLst/>
                        </a:rPr>
                        <a:t>DataType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chemeClr val="tx1"/>
                          </a:solidFill>
                          <a:effectLst/>
                        </a:rPr>
                        <a:t>Description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4994594"/>
                  </a:ext>
                </a:extLst>
              </a:tr>
              <a:tr h="36800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Manager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address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address of person who's managing the contract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007366"/>
                  </a:ext>
                </a:extLst>
              </a:tr>
              <a:tr h="36800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Minimum Contribution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effectLst/>
                        </a:rPr>
                        <a:t>uint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Min donation required to be considered an Approver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0845174"/>
                  </a:ext>
                </a:extLst>
              </a:tr>
              <a:tr h="36800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Approver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address[]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List of addresses for every person who has donated money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7300526"/>
                  </a:ext>
                </a:extLst>
              </a:tr>
              <a:tr h="38069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Requests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request[] (Struct)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List of requests that Manager has created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6693323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BB021091-D45F-44A4-BFCB-3722E931ED41}"/>
              </a:ext>
            </a:extLst>
          </p:cNvPr>
          <p:cNvSpPr txBox="1"/>
          <p:nvPr/>
        </p:nvSpPr>
        <p:spPr>
          <a:xfrm>
            <a:off x="242888" y="971522"/>
            <a:ext cx="21240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Major Functions: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4CAC1BE-D032-48B4-889A-5689CC2F67D6}"/>
              </a:ext>
            </a:extLst>
          </p:cNvPr>
          <p:cNvSpPr txBox="1"/>
          <p:nvPr/>
        </p:nvSpPr>
        <p:spPr>
          <a:xfrm>
            <a:off x="466725" y="3762710"/>
            <a:ext cx="13716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Variables:</a:t>
            </a:r>
          </a:p>
        </p:txBody>
      </p:sp>
    </p:spTree>
    <p:extLst>
      <p:ext uri="{BB962C8B-B14F-4D97-AF65-F5344CB8AC3E}">
        <p14:creationId xmlns:p14="http://schemas.microsoft.com/office/powerpoint/2010/main" val="174382249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12350" y="202757"/>
            <a:ext cx="8530314" cy="568963"/>
          </a:xfrm>
        </p:spPr>
        <p:txBody>
          <a:bodyPr/>
          <a:lstStyle/>
          <a:p>
            <a:r>
              <a:rPr lang="en-US" sz="4000" b="0" dirty="0">
                <a:latin typeface="Calibri Light" panose="020F0302020204030204" pitchFamily="34" charset="0"/>
                <a:cs typeface="Calibri Light" panose="020F0302020204030204" pitchFamily="34" charset="0"/>
              </a:rPr>
              <a:t>Deploy Campaign on </a:t>
            </a:r>
            <a:r>
              <a:rPr lang="en-US" sz="4000" b="0" noProof="0" dirty="0">
                <a:latin typeface="Calibri Light" panose="020F0302020204030204" pitchFamily="34" charset="0"/>
                <a:cs typeface="Calibri Light" panose="020F0302020204030204" pitchFamily="34" charset="0"/>
              </a:rPr>
              <a:t>Ethereum Network</a:t>
            </a:r>
          </a:p>
        </p:txBody>
      </p:sp>
      <p:pic>
        <p:nvPicPr>
          <p:cNvPr id="4" name="Picture 3" descr="Text&#10;&#10;Description automatically generated">
            <a:extLst>
              <a:ext uri="{FF2B5EF4-FFF2-40B4-BE49-F238E27FC236}">
                <a16:creationId xmlns:a16="http://schemas.microsoft.com/office/drawing/2014/main" id="{89821167-81B0-4250-B818-761F2FB4E86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2350" y="1572341"/>
            <a:ext cx="3243032" cy="264066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584E677-6513-41AB-A337-48752880D20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0399" y="3959996"/>
            <a:ext cx="3185588" cy="160587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C1706415-E574-4500-AD6C-3454EDC10068}"/>
              </a:ext>
            </a:extLst>
          </p:cNvPr>
          <p:cNvSpPr txBox="1"/>
          <p:nvPr/>
        </p:nvSpPr>
        <p:spPr>
          <a:xfrm>
            <a:off x="4685552" y="2048815"/>
            <a:ext cx="3735280" cy="1110560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defTabSz="914378">
              <a:spcAft>
                <a:spcPts val="1000"/>
              </a:spcAft>
              <a:buSzPct val="100000"/>
            </a:pPr>
            <a:r>
              <a:rPr lang="en-US" sz="1350" dirty="0">
                <a:solidFill>
                  <a:srgbClr val="575757"/>
                </a:solidFill>
                <a:latin typeface="Verdana"/>
              </a:rPr>
              <a:t>Tools Used to Deploy Contract</a:t>
            </a:r>
          </a:p>
          <a:p>
            <a:pPr defTabSz="914378">
              <a:spcAft>
                <a:spcPts val="1000"/>
              </a:spcAft>
              <a:buSzPct val="100000"/>
            </a:pPr>
            <a:r>
              <a:rPr lang="en-US" sz="1050" b="1" dirty="0" err="1">
                <a:solidFill>
                  <a:srgbClr val="575757"/>
                </a:solidFill>
                <a:latin typeface="Verdana"/>
              </a:rPr>
              <a:t>HDWalletProvider</a:t>
            </a:r>
            <a:r>
              <a:rPr lang="en-US" sz="1050" dirty="0">
                <a:solidFill>
                  <a:srgbClr val="575757"/>
                </a:solidFill>
                <a:latin typeface="Verdana"/>
              </a:rPr>
              <a:t>: To handle the transaction signing as well as the connection to the Ethereum network.</a:t>
            </a:r>
          </a:p>
          <a:p>
            <a:pPr defTabSz="914378">
              <a:spcAft>
                <a:spcPts val="1000"/>
              </a:spcAft>
              <a:buSzPct val="100000"/>
            </a:pPr>
            <a:r>
              <a:rPr lang="en-US" sz="1050" b="1" dirty="0" err="1">
                <a:solidFill>
                  <a:srgbClr val="575757"/>
                </a:solidFill>
                <a:latin typeface="Verdana"/>
              </a:rPr>
              <a:t>Infura</a:t>
            </a:r>
            <a:r>
              <a:rPr lang="en-US" sz="1050" b="1" dirty="0">
                <a:solidFill>
                  <a:srgbClr val="575757"/>
                </a:solidFill>
                <a:latin typeface="Verdana"/>
              </a:rPr>
              <a:t>: </a:t>
            </a:r>
            <a:r>
              <a:rPr lang="en-US" sz="1050" dirty="0">
                <a:solidFill>
                  <a:srgbClr val="575757"/>
                </a:solidFill>
                <a:latin typeface="Verdana"/>
              </a:rPr>
              <a:t>Helps to connect easily to Web 3.0 without having to spin-up and maintain our own infrastructur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BA6DAA2-1296-42C9-A3F2-6D3F396A6F1B}"/>
              </a:ext>
            </a:extLst>
          </p:cNvPr>
          <p:cNvSpPr txBox="1"/>
          <p:nvPr/>
        </p:nvSpPr>
        <p:spPr>
          <a:xfrm>
            <a:off x="412350" y="4434069"/>
            <a:ext cx="3309613" cy="82073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defTabSz="914378">
              <a:spcAft>
                <a:spcPts val="1000"/>
              </a:spcAft>
              <a:buSzPct val="100000"/>
            </a:pPr>
            <a:r>
              <a:rPr lang="en-US" sz="1350" dirty="0">
                <a:solidFill>
                  <a:srgbClr val="575757"/>
                </a:solidFill>
                <a:latin typeface="Verdana"/>
              </a:rPr>
              <a:t>Ethereum Network Used</a:t>
            </a:r>
          </a:p>
          <a:p>
            <a:pPr defTabSz="914378">
              <a:spcAft>
                <a:spcPts val="1000"/>
              </a:spcAft>
              <a:buSzPct val="100000"/>
            </a:pPr>
            <a:r>
              <a:rPr lang="en-US" sz="1050" b="1" dirty="0" err="1">
                <a:solidFill>
                  <a:srgbClr val="575757"/>
                </a:solidFill>
                <a:latin typeface="Verdana"/>
              </a:rPr>
              <a:t>Ropsten</a:t>
            </a:r>
            <a:r>
              <a:rPr lang="en-US" sz="1050" b="1" dirty="0">
                <a:solidFill>
                  <a:srgbClr val="575757"/>
                </a:solidFill>
                <a:latin typeface="Verdana"/>
              </a:rPr>
              <a:t> Test Network: </a:t>
            </a:r>
            <a:r>
              <a:rPr lang="en-US" sz="1050" dirty="0">
                <a:solidFill>
                  <a:srgbClr val="575757"/>
                </a:solidFill>
                <a:latin typeface="Verdana"/>
              </a:rPr>
              <a:t>Allows blockchain developers to test their work in a live setting, but without the need for real ETH</a:t>
            </a:r>
            <a:endParaRPr lang="en-US" sz="1350" dirty="0">
              <a:solidFill>
                <a:srgbClr val="575757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3876543778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16_9_Onscreen_US.potx" id="{0EE9D2B3-061D-4481-B583-397E8A57E8A2}" vid="{027ADE79-AE14-4360-9116-256000D5D1A0}"/>
    </a:ext>
  </a:extLst>
</a:theme>
</file>

<file path=ppt/theme/theme3.xml><?xml version="1.0" encoding="utf-8"?>
<a:theme xmlns:a="http://schemas.openxmlformats.org/drawingml/2006/main" name="2_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16_9_Onscreen_US.potx" id="{0EE9D2B3-061D-4481-B583-397E8A57E8A2}" vid="{027ADE79-AE14-4360-9116-256000D5D1A0}"/>
    </a:ext>
  </a:extLst>
</a:theme>
</file>

<file path=ppt/theme/theme4.xml><?xml version="1.0" encoding="utf-8"?>
<a:theme xmlns:a="http://schemas.openxmlformats.org/drawingml/2006/main" name="3_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16_9_Onscreen_US.potx" id="{0EE9D2B3-061D-4481-B583-397E8A57E8A2}" vid="{027ADE79-AE14-4360-9116-256000D5D1A0}"/>
    </a:ext>
  </a:extLst>
</a:theme>
</file>

<file path=ppt/theme/theme5.xml><?xml version="1.0" encoding="utf-8"?>
<a:theme xmlns:a="http://schemas.openxmlformats.org/drawingml/2006/main" name="4_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16_9_Onscreen_US.potx" id="{0EE9D2B3-061D-4481-B583-397E8A57E8A2}" vid="{027ADE79-AE14-4360-9116-256000D5D1A0}"/>
    </a:ext>
  </a:extLst>
</a:theme>
</file>

<file path=ppt/theme/theme6.xml><?xml version="1.0" encoding="utf-8"?>
<a:theme xmlns:a="http://schemas.openxmlformats.org/drawingml/2006/main" name="5_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16_9_Onscreen_US.potx" id="{0EE9D2B3-061D-4481-B583-397E8A57E8A2}" vid="{027ADE79-AE14-4360-9116-256000D5D1A0}"/>
    </a:ext>
  </a:extLst>
</a:theme>
</file>

<file path=ppt/theme/theme7.xml><?xml version="1.0" encoding="utf-8"?>
<a:theme xmlns:a="http://schemas.openxmlformats.org/drawingml/2006/main" name="6_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16_9_Onscreen_US.potx" id="{0EE9D2B3-061D-4481-B583-397E8A57E8A2}" vid="{027ADE79-AE14-4360-9116-256000D5D1A0}"/>
    </a:ext>
  </a:extLst>
</a:theme>
</file>

<file path=ppt/theme/theme8.xml><?xml version="1.0" encoding="utf-8"?>
<a:theme xmlns:a="http://schemas.openxmlformats.org/drawingml/2006/main" name="7_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16_9_Onscreen_US.potx" id="{0EE9D2B3-061D-4481-B583-397E8A57E8A2}" vid="{027ADE79-AE14-4360-9116-256000D5D1A0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</TotalTime>
  <Words>786</Words>
  <Application>Microsoft Office PowerPoint</Application>
  <PresentationFormat>On-screen Show (4:3)</PresentationFormat>
  <Paragraphs>109</Paragraphs>
  <Slides>13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7" baseType="lpstr">
      <vt:lpstr>Arial</vt:lpstr>
      <vt:lpstr>Calibri</vt:lpstr>
      <vt:lpstr>Calibri Light</vt:lpstr>
      <vt:lpstr>Verdana</vt:lpstr>
      <vt:lpstr>Wingdings</vt:lpstr>
      <vt:lpstr>Office Theme</vt:lpstr>
      <vt:lpstr>1_Deloitte_US_Onscreen</vt:lpstr>
      <vt:lpstr>2_Deloitte_US_Onscreen</vt:lpstr>
      <vt:lpstr>3_Deloitte_US_Onscreen</vt:lpstr>
      <vt:lpstr>4_Deloitte_US_Onscreen</vt:lpstr>
      <vt:lpstr>5_Deloitte_US_Onscreen</vt:lpstr>
      <vt:lpstr>6_Deloitte_US_Onscreen</vt:lpstr>
      <vt:lpstr>7_Deloitte_US_Onscreen</vt:lpstr>
      <vt:lpstr>think-cell Slide</vt:lpstr>
      <vt:lpstr>PowerPoint Presentation</vt:lpstr>
      <vt:lpstr>Introduction – Alwin Eldhose Babu</vt:lpstr>
      <vt:lpstr>Business Case</vt:lpstr>
      <vt:lpstr>Solution: Covid Donation Manager</vt:lpstr>
      <vt:lpstr>Technical Aspects</vt:lpstr>
      <vt:lpstr>Process Flow</vt:lpstr>
      <vt:lpstr>Value Addition by Blockchain </vt:lpstr>
      <vt:lpstr>Smart Contract</vt:lpstr>
      <vt:lpstr>Deploy Campaign on Ethereum Network</vt:lpstr>
      <vt:lpstr>Front-end Flow</vt:lpstr>
      <vt:lpstr>Tools Used</vt:lpstr>
      <vt:lpstr>PowerPoint Presentation</vt:lpstr>
      <vt:lpstr>Future Development Aspect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lwin Babu</dc:creator>
  <cp:lastModifiedBy>Alwin Eldhose</cp:lastModifiedBy>
  <cp:revision>4</cp:revision>
  <dcterms:created xsi:type="dcterms:W3CDTF">2021-03-18T16:30:07Z</dcterms:created>
  <dcterms:modified xsi:type="dcterms:W3CDTF">2022-02-04T05:29:19Z</dcterms:modified>
</cp:coreProperties>
</file>